
<file path=[Content_Types].xml><?xml version="1.0" encoding="utf-8"?>
<Types xmlns="http://schemas.openxmlformats.org/package/2006/content-types">
  <Default Extension="png" ContentType="image/png"/>
  <Default Extension="tmp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6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7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8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9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10.xml" ContentType="application/vnd.openxmlformats-officedocument.presentationml.notesSl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11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12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13.xml" ContentType="application/vnd.openxmlformats-officedocument.presentationml.notesSl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14.xml" ContentType="application/vnd.openxmlformats-officedocument.presentationml.notesSl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15.xml" ContentType="application/vnd.openxmlformats-officedocument.presentationml.notesSl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16.xml" ContentType="application/vnd.openxmlformats-officedocument.presentationml.notesSl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  <p:sldMasterId id="2147484174" r:id="rId2"/>
    <p:sldMasterId id="2147484184" r:id="rId3"/>
    <p:sldMasterId id="2147484190" r:id="rId4"/>
  </p:sldMasterIdLst>
  <p:notesMasterIdLst>
    <p:notesMasterId r:id="rId37"/>
  </p:notesMasterIdLst>
  <p:sldIdLst>
    <p:sldId id="2081" r:id="rId5"/>
    <p:sldId id="2085" r:id="rId6"/>
    <p:sldId id="2115" r:id="rId7"/>
    <p:sldId id="2114" r:id="rId8"/>
    <p:sldId id="2116" r:id="rId9"/>
    <p:sldId id="2117" r:id="rId10"/>
    <p:sldId id="2118" r:id="rId11"/>
    <p:sldId id="2127" r:id="rId12"/>
    <p:sldId id="2128" r:id="rId13"/>
    <p:sldId id="2119" r:id="rId14"/>
    <p:sldId id="2120" r:id="rId15"/>
    <p:sldId id="2121" r:id="rId16"/>
    <p:sldId id="2088" r:id="rId17"/>
    <p:sldId id="2084" r:id="rId18"/>
    <p:sldId id="2108" r:id="rId19"/>
    <p:sldId id="2122" r:id="rId20"/>
    <p:sldId id="2123" r:id="rId21"/>
    <p:sldId id="2124" r:id="rId22"/>
    <p:sldId id="2125" r:id="rId23"/>
    <p:sldId id="2129" r:id="rId24"/>
    <p:sldId id="2130" r:id="rId25"/>
    <p:sldId id="2131" r:id="rId26"/>
    <p:sldId id="2132" r:id="rId27"/>
    <p:sldId id="2089" r:id="rId28"/>
    <p:sldId id="2126" r:id="rId29"/>
    <p:sldId id="2090" r:id="rId30"/>
    <p:sldId id="1842" r:id="rId31"/>
    <p:sldId id="2102" r:id="rId32"/>
    <p:sldId id="2103" r:id="rId33"/>
    <p:sldId id="2104" r:id="rId34"/>
    <p:sldId id="2133" r:id="rId35"/>
    <p:sldId id="2134" r:id="rId36"/>
  </p:sldIdLst>
  <p:sldSz cx="12192000" cy="6858000"/>
  <p:notesSz cx="6858000" cy="9144000"/>
  <p:custDataLst>
    <p:tags r:id="rId3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echová Anna Mgr." initials="KAM" lastIdx="1" clrIdx="0">
    <p:extLst>
      <p:ext uri="{19B8F6BF-5375-455C-9EA6-DF929625EA0E}">
        <p15:presenceInfo xmlns:p15="http://schemas.microsoft.com/office/powerpoint/2012/main" userId="Klechová Anna Mgr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FF00"/>
    <a:srgbClr val="4DE5F5"/>
    <a:srgbClr val="F7E7E9"/>
    <a:srgbClr val="FBCBD8"/>
    <a:srgbClr val="C00000"/>
    <a:srgbClr val="FFFFFF"/>
    <a:srgbClr val="FFCCFF"/>
    <a:srgbClr val="305983"/>
    <a:srgbClr val="D311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2" autoAdjust="0"/>
    <p:restoredTop sz="93721" autoAdjust="0"/>
  </p:normalViewPr>
  <p:slideViewPr>
    <p:cSldViewPr snapToGrid="0">
      <p:cViewPr varScale="1">
        <p:scale>
          <a:sx n="111" d="100"/>
          <a:sy n="111" d="100"/>
        </p:scale>
        <p:origin x="570" y="114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31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78069204330972E-2"/>
          <c:y val="8.3481760709576552E-2"/>
          <c:w val="0.91740097734358894"/>
          <c:h val="0.74178962412014737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73</c:f>
              <c:numCache>
                <c:formatCode>m/d/yyyy</c:formatCode>
                <c:ptCount val="72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  <c:pt idx="42">
                  <c:v>44340</c:v>
                </c:pt>
                <c:pt idx="43">
                  <c:v>44341</c:v>
                </c:pt>
                <c:pt idx="44">
                  <c:v>44342</c:v>
                </c:pt>
                <c:pt idx="45">
                  <c:v>44343</c:v>
                </c:pt>
                <c:pt idx="46">
                  <c:v>44344</c:v>
                </c:pt>
                <c:pt idx="47">
                  <c:v>44345</c:v>
                </c:pt>
                <c:pt idx="48">
                  <c:v>44346</c:v>
                </c:pt>
                <c:pt idx="49">
                  <c:v>44347</c:v>
                </c:pt>
                <c:pt idx="50">
                  <c:v>44348</c:v>
                </c:pt>
                <c:pt idx="51">
                  <c:v>44349</c:v>
                </c:pt>
                <c:pt idx="52">
                  <c:v>44350</c:v>
                </c:pt>
                <c:pt idx="53">
                  <c:v>44351</c:v>
                </c:pt>
                <c:pt idx="54">
                  <c:v>44352</c:v>
                </c:pt>
                <c:pt idx="55">
                  <c:v>44353</c:v>
                </c:pt>
                <c:pt idx="56">
                  <c:v>44354</c:v>
                </c:pt>
                <c:pt idx="57">
                  <c:v>44355</c:v>
                </c:pt>
                <c:pt idx="58">
                  <c:v>44356</c:v>
                </c:pt>
                <c:pt idx="59">
                  <c:v>44357</c:v>
                </c:pt>
                <c:pt idx="60">
                  <c:v>44358</c:v>
                </c:pt>
                <c:pt idx="61">
                  <c:v>44359</c:v>
                </c:pt>
                <c:pt idx="62">
                  <c:v>44360</c:v>
                </c:pt>
                <c:pt idx="63">
                  <c:v>44361</c:v>
                </c:pt>
                <c:pt idx="64">
                  <c:v>44362</c:v>
                </c:pt>
                <c:pt idx="65">
                  <c:v>44363</c:v>
                </c:pt>
                <c:pt idx="66">
                  <c:v>44364</c:v>
                </c:pt>
                <c:pt idx="67">
                  <c:v>44365</c:v>
                </c:pt>
                <c:pt idx="68">
                  <c:v>44366</c:v>
                </c:pt>
                <c:pt idx="69">
                  <c:v>44367</c:v>
                </c:pt>
                <c:pt idx="70">
                  <c:v>44368</c:v>
                </c:pt>
                <c:pt idx="71">
                  <c:v>44369</c:v>
                </c:pt>
              </c:numCache>
            </c:numRef>
          </c:cat>
          <c:val>
            <c:numRef>
              <c:f>List1!$B$2:$B$73</c:f>
              <c:numCache>
                <c:formatCode>General</c:formatCode>
                <c:ptCount val="72"/>
                <c:pt idx="0">
                  <c:v>380074</c:v>
                </c:pt>
                <c:pt idx="1">
                  <c:v>400266</c:v>
                </c:pt>
                <c:pt idx="2">
                  <c:v>418771</c:v>
                </c:pt>
                <c:pt idx="3">
                  <c:v>785857</c:v>
                </c:pt>
                <c:pt idx="4">
                  <c:v>799538</c:v>
                </c:pt>
                <c:pt idx="5">
                  <c:v>799695</c:v>
                </c:pt>
                <c:pt idx="6">
                  <c:v>800741</c:v>
                </c:pt>
                <c:pt idx="7">
                  <c:v>1209018</c:v>
                </c:pt>
                <c:pt idx="8">
                  <c:v>1234433</c:v>
                </c:pt>
                <c:pt idx="9">
                  <c:v>1260580</c:v>
                </c:pt>
                <c:pt idx="10">
                  <c:v>1644355</c:v>
                </c:pt>
                <c:pt idx="11">
                  <c:v>1662523</c:v>
                </c:pt>
                <c:pt idx="12">
                  <c:v>1662664</c:v>
                </c:pt>
                <c:pt idx="13">
                  <c:v>1665873</c:v>
                </c:pt>
                <c:pt idx="14">
                  <c:v>2103054</c:v>
                </c:pt>
                <c:pt idx="15">
                  <c:v>2149719</c:v>
                </c:pt>
                <c:pt idx="16">
                  <c:v>2197815</c:v>
                </c:pt>
                <c:pt idx="17">
                  <c:v>2620675</c:v>
                </c:pt>
                <c:pt idx="18">
                  <c:v>2659902</c:v>
                </c:pt>
                <c:pt idx="19">
                  <c:v>2660067</c:v>
                </c:pt>
                <c:pt idx="20">
                  <c:v>2663394</c:v>
                </c:pt>
                <c:pt idx="21">
                  <c:v>3135780</c:v>
                </c:pt>
                <c:pt idx="22">
                  <c:v>3168741</c:v>
                </c:pt>
                <c:pt idx="23">
                  <c:v>3199547</c:v>
                </c:pt>
                <c:pt idx="24">
                  <c:v>3304407</c:v>
                </c:pt>
                <c:pt idx="25">
                  <c:v>3326012</c:v>
                </c:pt>
                <c:pt idx="26">
                  <c:v>3326603</c:v>
                </c:pt>
                <c:pt idx="27">
                  <c:v>3330124</c:v>
                </c:pt>
                <c:pt idx="28">
                  <c:v>3843569</c:v>
                </c:pt>
                <c:pt idx="29">
                  <c:v>3879037</c:v>
                </c:pt>
                <c:pt idx="30">
                  <c:v>3905239</c:v>
                </c:pt>
                <c:pt idx="31">
                  <c:v>4088742</c:v>
                </c:pt>
                <c:pt idx="32">
                  <c:v>4102496</c:v>
                </c:pt>
                <c:pt idx="33">
                  <c:v>4102522</c:v>
                </c:pt>
                <c:pt idx="34">
                  <c:v>4698722</c:v>
                </c:pt>
                <c:pt idx="35">
                  <c:v>4871992</c:v>
                </c:pt>
                <c:pt idx="36">
                  <c:v>4915558</c:v>
                </c:pt>
                <c:pt idx="37">
                  <c:v>4955576</c:v>
                </c:pt>
                <c:pt idx="38">
                  <c:v>5070066</c:v>
                </c:pt>
                <c:pt idx="39">
                  <c:v>5090195</c:v>
                </c:pt>
                <c:pt idx="40">
                  <c:v>5106691</c:v>
                </c:pt>
                <c:pt idx="41">
                  <c:v>5114175</c:v>
                </c:pt>
                <c:pt idx="42">
                  <c:v>5956713</c:v>
                </c:pt>
                <c:pt idx="43">
                  <c:v>6046619</c:v>
                </c:pt>
                <c:pt idx="44">
                  <c:v>6107443</c:v>
                </c:pt>
                <c:pt idx="45">
                  <c:v>6141760</c:v>
                </c:pt>
                <c:pt idx="46">
                  <c:v>6153577</c:v>
                </c:pt>
                <c:pt idx="47">
                  <c:v>6167571</c:v>
                </c:pt>
                <c:pt idx="48">
                  <c:v>6173874</c:v>
                </c:pt>
                <c:pt idx="49">
                  <c:v>6982664</c:v>
                </c:pt>
                <c:pt idx="50">
                  <c:v>7082158</c:v>
                </c:pt>
                <c:pt idx="51">
                  <c:v>7127051</c:v>
                </c:pt>
                <c:pt idx="52">
                  <c:v>7158582</c:v>
                </c:pt>
                <c:pt idx="53">
                  <c:v>7170808</c:v>
                </c:pt>
                <c:pt idx="54">
                  <c:v>7171955</c:v>
                </c:pt>
                <c:pt idx="55">
                  <c:v>7178393</c:v>
                </c:pt>
                <c:pt idx="56">
                  <c:v>7966889</c:v>
                </c:pt>
                <c:pt idx="57">
                  <c:v>8063416</c:v>
                </c:pt>
                <c:pt idx="58">
                  <c:v>8114169</c:v>
                </c:pt>
                <c:pt idx="59">
                  <c:v>8154117</c:v>
                </c:pt>
                <c:pt idx="60">
                  <c:v>8167563</c:v>
                </c:pt>
                <c:pt idx="61">
                  <c:v>8184598</c:v>
                </c:pt>
                <c:pt idx="62">
                  <c:v>8192033</c:v>
                </c:pt>
                <c:pt idx="63">
                  <c:v>9037134</c:v>
                </c:pt>
                <c:pt idx="64">
                  <c:v>9085474</c:v>
                </c:pt>
                <c:pt idx="65">
                  <c:v>9116658</c:v>
                </c:pt>
                <c:pt idx="66">
                  <c:v>9134702</c:v>
                </c:pt>
                <c:pt idx="67">
                  <c:v>9147661</c:v>
                </c:pt>
                <c:pt idx="68">
                  <c:v>9181893</c:v>
                </c:pt>
                <c:pt idx="69">
                  <c:v>9187093</c:v>
                </c:pt>
                <c:pt idx="70">
                  <c:v>9883640</c:v>
                </c:pt>
                <c:pt idx="71">
                  <c:v>99935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578A-4B66-9E45-FC701E9D0FDA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78A-4B66-9E45-FC701E9D0FD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78A-4B66-9E45-FC701E9D0FD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78A-4B66-9E45-FC701E9D0FD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78A-4B66-9E45-FC701E9D0FD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578A-4B66-9E45-FC701E9D0FDA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78A-4B66-9E45-FC701E9D0FDA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578A-4B66-9E45-FC701E9D0FD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578A-4B66-9E45-FC701E9D0FD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73</c:f>
              <c:numCache>
                <c:formatCode>m/d/yyyy</c:formatCode>
                <c:ptCount val="72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  <c:pt idx="42">
                  <c:v>44340</c:v>
                </c:pt>
                <c:pt idx="43">
                  <c:v>44341</c:v>
                </c:pt>
                <c:pt idx="44">
                  <c:v>44342</c:v>
                </c:pt>
                <c:pt idx="45">
                  <c:v>44343</c:v>
                </c:pt>
                <c:pt idx="46">
                  <c:v>44344</c:v>
                </c:pt>
                <c:pt idx="47">
                  <c:v>44345</c:v>
                </c:pt>
                <c:pt idx="48">
                  <c:v>44346</c:v>
                </c:pt>
                <c:pt idx="49">
                  <c:v>44347</c:v>
                </c:pt>
                <c:pt idx="50">
                  <c:v>44348</c:v>
                </c:pt>
                <c:pt idx="51">
                  <c:v>44349</c:v>
                </c:pt>
                <c:pt idx="52">
                  <c:v>44350</c:v>
                </c:pt>
                <c:pt idx="53">
                  <c:v>44351</c:v>
                </c:pt>
                <c:pt idx="54">
                  <c:v>44352</c:v>
                </c:pt>
                <c:pt idx="55">
                  <c:v>44353</c:v>
                </c:pt>
                <c:pt idx="56">
                  <c:v>44354</c:v>
                </c:pt>
                <c:pt idx="57">
                  <c:v>44355</c:v>
                </c:pt>
                <c:pt idx="58">
                  <c:v>44356</c:v>
                </c:pt>
                <c:pt idx="59">
                  <c:v>44357</c:v>
                </c:pt>
                <c:pt idx="60">
                  <c:v>44358</c:v>
                </c:pt>
                <c:pt idx="61">
                  <c:v>44359</c:v>
                </c:pt>
                <c:pt idx="62">
                  <c:v>44360</c:v>
                </c:pt>
                <c:pt idx="63">
                  <c:v>44361</c:v>
                </c:pt>
                <c:pt idx="64">
                  <c:v>44362</c:v>
                </c:pt>
                <c:pt idx="65">
                  <c:v>44363</c:v>
                </c:pt>
                <c:pt idx="66">
                  <c:v>44364</c:v>
                </c:pt>
                <c:pt idx="67">
                  <c:v>44365</c:v>
                </c:pt>
                <c:pt idx="68">
                  <c:v>44366</c:v>
                </c:pt>
                <c:pt idx="69">
                  <c:v>44367</c:v>
                </c:pt>
                <c:pt idx="70">
                  <c:v>44368</c:v>
                </c:pt>
                <c:pt idx="71">
                  <c:v>44369</c:v>
                </c:pt>
              </c:numCache>
            </c:numRef>
          </c:cat>
          <c:val>
            <c:numRef>
              <c:f>List1!$C$2:$C$73</c:f>
              <c:numCache>
                <c:formatCode>General</c:formatCode>
                <c:ptCount val="72"/>
                <c:pt idx="0">
                  <c:v>147838</c:v>
                </c:pt>
                <c:pt idx="1">
                  <c:v>160889</c:v>
                </c:pt>
                <c:pt idx="2">
                  <c:v>171139</c:v>
                </c:pt>
                <c:pt idx="3">
                  <c:v>280026</c:v>
                </c:pt>
                <c:pt idx="4">
                  <c:v>287848</c:v>
                </c:pt>
                <c:pt idx="5">
                  <c:v>287925</c:v>
                </c:pt>
                <c:pt idx="6">
                  <c:v>288226</c:v>
                </c:pt>
                <c:pt idx="7">
                  <c:v>432044</c:v>
                </c:pt>
                <c:pt idx="8">
                  <c:v>443327</c:v>
                </c:pt>
                <c:pt idx="9">
                  <c:v>453390</c:v>
                </c:pt>
                <c:pt idx="10">
                  <c:v>560060</c:v>
                </c:pt>
                <c:pt idx="11">
                  <c:v>567250</c:v>
                </c:pt>
                <c:pt idx="12">
                  <c:v>567349</c:v>
                </c:pt>
                <c:pt idx="13">
                  <c:v>567718</c:v>
                </c:pt>
                <c:pt idx="14">
                  <c:v>700427</c:v>
                </c:pt>
                <c:pt idx="15">
                  <c:v>711391</c:v>
                </c:pt>
                <c:pt idx="16">
                  <c:v>721090</c:v>
                </c:pt>
                <c:pt idx="17">
                  <c:v>815397</c:v>
                </c:pt>
                <c:pt idx="18">
                  <c:v>822639</c:v>
                </c:pt>
                <c:pt idx="19">
                  <c:v>822702</c:v>
                </c:pt>
                <c:pt idx="20">
                  <c:v>823016</c:v>
                </c:pt>
                <c:pt idx="21">
                  <c:v>951222</c:v>
                </c:pt>
                <c:pt idx="22">
                  <c:v>960945</c:v>
                </c:pt>
                <c:pt idx="23">
                  <c:v>966691</c:v>
                </c:pt>
                <c:pt idx="24">
                  <c:v>974278</c:v>
                </c:pt>
                <c:pt idx="25">
                  <c:v>977769</c:v>
                </c:pt>
                <c:pt idx="26">
                  <c:v>977826</c:v>
                </c:pt>
                <c:pt idx="27">
                  <c:v>978152</c:v>
                </c:pt>
                <c:pt idx="28">
                  <c:v>1101070</c:v>
                </c:pt>
                <c:pt idx="29">
                  <c:v>1110134</c:v>
                </c:pt>
                <c:pt idx="30">
                  <c:v>1114207</c:v>
                </c:pt>
                <c:pt idx="31">
                  <c:v>1119856</c:v>
                </c:pt>
                <c:pt idx="32">
                  <c:v>1121574</c:v>
                </c:pt>
                <c:pt idx="33">
                  <c:v>1121586</c:v>
                </c:pt>
                <c:pt idx="34">
                  <c:v>1218244</c:v>
                </c:pt>
                <c:pt idx="35">
                  <c:v>1249114</c:v>
                </c:pt>
                <c:pt idx="36">
                  <c:v>1257503</c:v>
                </c:pt>
                <c:pt idx="37">
                  <c:v>1263983</c:v>
                </c:pt>
                <c:pt idx="38">
                  <c:v>1269116</c:v>
                </c:pt>
                <c:pt idx="39">
                  <c:v>1271209</c:v>
                </c:pt>
                <c:pt idx="40">
                  <c:v>1273090</c:v>
                </c:pt>
                <c:pt idx="41">
                  <c:v>1273293</c:v>
                </c:pt>
                <c:pt idx="42">
                  <c:v>1363578</c:v>
                </c:pt>
                <c:pt idx="43">
                  <c:v>1374784</c:v>
                </c:pt>
                <c:pt idx="44">
                  <c:v>1380014</c:v>
                </c:pt>
                <c:pt idx="45">
                  <c:v>1384073</c:v>
                </c:pt>
                <c:pt idx="46">
                  <c:v>1385471</c:v>
                </c:pt>
                <c:pt idx="47">
                  <c:v>1386899</c:v>
                </c:pt>
                <c:pt idx="48">
                  <c:v>1387006</c:v>
                </c:pt>
                <c:pt idx="49">
                  <c:v>1447522</c:v>
                </c:pt>
                <c:pt idx="50">
                  <c:v>1456357</c:v>
                </c:pt>
                <c:pt idx="51">
                  <c:v>1459827</c:v>
                </c:pt>
                <c:pt idx="52">
                  <c:v>1462418</c:v>
                </c:pt>
                <c:pt idx="53">
                  <c:v>1463401</c:v>
                </c:pt>
                <c:pt idx="54">
                  <c:v>1463427</c:v>
                </c:pt>
                <c:pt idx="55">
                  <c:v>1463539</c:v>
                </c:pt>
                <c:pt idx="56">
                  <c:v>1515639</c:v>
                </c:pt>
                <c:pt idx="57">
                  <c:v>1522828</c:v>
                </c:pt>
                <c:pt idx="58">
                  <c:v>1526399</c:v>
                </c:pt>
                <c:pt idx="59">
                  <c:v>1529825</c:v>
                </c:pt>
                <c:pt idx="60">
                  <c:v>1530745</c:v>
                </c:pt>
                <c:pt idx="61">
                  <c:v>1531983</c:v>
                </c:pt>
                <c:pt idx="62">
                  <c:v>1532104</c:v>
                </c:pt>
                <c:pt idx="63">
                  <c:v>1584115</c:v>
                </c:pt>
                <c:pt idx="64">
                  <c:v>1587366</c:v>
                </c:pt>
                <c:pt idx="65">
                  <c:v>1589004</c:v>
                </c:pt>
                <c:pt idx="66">
                  <c:v>1590126</c:v>
                </c:pt>
                <c:pt idx="67">
                  <c:v>1590951</c:v>
                </c:pt>
                <c:pt idx="68">
                  <c:v>1592478</c:v>
                </c:pt>
                <c:pt idx="69">
                  <c:v>1592566</c:v>
                </c:pt>
                <c:pt idx="70">
                  <c:v>1632853</c:v>
                </c:pt>
                <c:pt idx="71">
                  <c:v>16400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578A-4B66-9E45-FC701E9D0F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1"/>
      </c:date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4560783597242141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4.02 - 02.03</c:v>
                </c:pt>
                <c:pt idx="1">
                  <c:v>03.03 - 09.03</c:v>
                </c:pt>
                <c:pt idx="2">
                  <c:v>10.03 - 16.03</c:v>
                </c:pt>
                <c:pt idx="3">
                  <c:v>17.03 - 23.03</c:v>
                </c:pt>
                <c:pt idx="4">
                  <c:v>24.03 - 30.03</c:v>
                </c:pt>
                <c:pt idx="5">
                  <c:v>31.03 - 06.04</c:v>
                </c:pt>
                <c:pt idx="6">
                  <c:v>07.04 - 13.04</c:v>
                </c:pt>
                <c:pt idx="7">
                  <c:v>14.04 - 20.04</c:v>
                </c:pt>
                <c:pt idx="8">
                  <c:v>21.04 - 27.04</c:v>
                </c:pt>
                <c:pt idx="9">
                  <c:v>28.04 - 04.05</c:v>
                </c:pt>
                <c:pt idx="10">
                  <c:v>05.05 - 11.05</c:v>
                </c:pt>
                <c:pt idx="11">
                  <c:v>12.05 - 18.05</c:v>
                </c:pt>
                <c:pt idx="12">
                  <c:v>19.05 - 25.05</c:v>
                </c:pt>
                <c:pt idx="13">
                  <c:v>26.05 - 01.06</c:v>
                </c:pt>
                <c:pt idx="14">
                  <c:v>02.06 - 08.06</c:v>
                </c:pt>
                <c:pt idx="15">
                  <c:v>09.06 - 15.06</c:v>
                </c:pt>
                <c:pt idx="16">
                  <c:v>16.06 - 22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653.253200940684</c:v>
                </c:pt>
                <c:pt idx="1">
                  <c:v>433.83514014625302</c:v>
                </c:pt>
                <c:pt idx="2">
                  <c:v>252.42453831564401</c:v>
                </c:pt>
                <c:pt idx="3">
                  <c:v>188.53700038632499</c:v>
                </c:pt>
                <c:pt idx="4">
                  <c:v>176.28459585193499</c:v>
                </c:pt>
                <c:pt idx="5">
                  <c:v>116.397843076703</c:v>
                </c:pt>
                <c:pt idx="6">
                  <c:v>179.03513564536999</c:v>
                </c:pt>
                <c:pt idx="7">
                  <c:v>177.909914820783</c:v>
                </c:pt>
                <c:pt idx="8">
                  <c:v>186.786656881412</c:v>
                </c:pt>
                <c:pt idx="9">
                  <c:v>264.30186924183801</c:v>
                </c:pt>
                <c:pt idx="10">
                  <c:v>220.79333069114799</c:v>
                </c:pt>
                <c:pt idx="11">
                  <c:v>398.70324551193102</c:v>
                </c:pt>
                <c:pt idx="12">
                  <c:v>787.02945453045095</c:v>
                </c:pt>
                <c:pt idx="13">
                  <c:v>596.61708610314702</c:v>
                </c:pt>
                <c:pt idx="14">
                  <c:v>989.06910481181899</c:v>
                </c:pt>
                <c:pt idx="15">
                  <c:v>466.216494987141</c:v>
                </c:pt>
                <c:pt idx="16">
                  <c:v>447.46281457736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5030486293927378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4.02 - 02.03</c:v>
                </c:pt>
                <c:pt idx="1">
                  <c:v>03.03 - 09.03</c:v>
                </c:pt>
                <c:pt idx="2">
                  <c:v>10.03 - 16.03</c:v>
                </c:pt>
                <c:pt idx="3">
                  <c:v>17.03 - 23.03</c:v>
                </c:pt>
                <c:pt idx="4">
                  <c:v>24.03 - 30.03</c:v>
                </c:pt>
                <c:pt idx="5">
                  <c:v>31.03 - 06.04</c:v>
                </c:pt>
                <c:pt idx="6">
                  <c:v>07.04 - 13.04</c:v>
                </c:pt>
                <c:pt idx="7">
                  <c:v>14.04 - 20.04</c:v>
                </c:pt>
                <c:pt idx="8">
                  <c:v>21.04 - 27.04</c:v>
                </c:pt>
                <c:pt idx="9">
                  <c:v>28.04 - 04.05</c:v>
                </c:pt>
                <c:pt idx="10">
                  <c:v>05.05 - 11.05</c:v>
                </c:pt>
                <c:pt idx="11">
                  <c:v>12.05 - 18.05</c:v>
                </c:pt>
                <c:pt idx="12">
                  <c:v>19.05 - 25.05</c:v>
                </c:pt>
                <c:pt idx="13">
                  <c:v>26.05 - 01.06</c:v>
                </c:pt>
                <c:pt idx="14">
                  <c:v>02.06 - 08.06</c:v>
                </c:pt>
                <c:pt idx="15">
                  <c:v>09.06 - 15.06</c:v>
                </c:pt>
                <c:pt idx="16">
                  <c:v>16.06 - 22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1168.0669602405901</c:v>
                </c:pt>
                <c:pt idx="1">
                  <c:v>959.34506453807899</c:v>
                </c:pt>
                <c:pt idx="2">
                  <c:v>680.81415642154695</c:v>
                </c:pt>
                <c:pt idx="3">
                  <c:v>588.26432935750995</c:v>
                </c:pt>
                <c:pt idx="4">
                  <c:v>475.61796841671003</c:v>
                </c:pt>
                <c:pt idx="5">
                  <c:v>352.74705515264498</c:v>
                </c:pt>
                <c:pt idx="6">
                  <c:v>350.63163053403798</c:v>
                </c:pt>
                <c:pt idx="7">
                  <c:v>313.43541432353999</c:v>
                </c:pt>
                <c:pt idx="8">
                  <c:v>273.06606118513099</c:v>
                </c:pt>
                <c:pt idx="9">
                  <c:v>267.77749963861402</c:v>
                </c:pt>
                <c:pt idx="10">
                  <c:v>225.64529265136699</c:v>
                </c:pt>
                <c:pt idx="11">
                  <c:v>252.61695653860099</c:v>
                </c:pt>
                <c:pt idx="12">
                  <c:v>232.69670804672199</c:v>
                </c:pt>
                <c:pt idx="13">
                  <c:v>172.407106416435</c:v>
                </c:pt>
                <c:pt idx="14">
                  <c:v>151.25286023036901</c:v>
                </c:pt>
                <c:pt idx="15">
                  <c:v>122.16577172452899</c:v>
                </c:pt>
                <c:pt idx="16">
                  <c:v>89.024119366359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8.9243512370193803E-2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4.02 - 02.03</c:v>
                </c:pt>
                <c:pt idx="1">
                  <c:v>03.03 - 09.03</c:v>
                </c:pt>
                <c:pt idx="2">
                  <c:v>10.03 - 16.03</c:v>
                </c:pt>
                <c:pt idx="3">
                  <c:v>17.03 - 23.03</c:v>
                </c:pt>
                <c:pt idx="4">
                  <c:v>24.03 - 30.03</c:v>
                </c:pt>
                <c:pt idx="5">
                  <c:v>31.03 - 06.04</c:v>
                </c:pt>
                <c:pt idx="6">
                  <c:v>07.04 - 13.04</c:v>
                </c:pt>
                <c:pt idx="7">
                  <c:v>14.04 - 20.04</c:v>
                </c:pt>
                <c:pt idx="8">
                  <c:v>21.04 - 27.04</c:v>
                </c:pt>
                <c:pt idx="9">
                  <c:v>28.04 - 04.05</c:v>
                </c:pt>
                <c:pt idx="10">
                  <c:v>05.05 - 11.05</c:v>
                </c:pt>
                <c:pt idx="11">
                  <c:v>12.05 - 18.05</c:v>
                </c:pt>
                <c:pt idx="12">
                  <c:v>19.05 - 25.05</c:v>
                </c:pt>
                <c:pt idx="13">
                  <c:v>26.05 - 01.06</c:v>
                </c:pt>
                <c:pt idx="14">
                  <c:v>02.06 - 08.06</c:v>
                </c:pt>
                <c:pt idx="15">
                  <c:v>09.06 - 15.06</c:v>
                </c:pt>
                <c:pt idx="16">
                  <c:v>16.06 - 22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1497.35614160358</c:v>
                </c:pt>
                <c:pt idx="1">
                  <c:v>1525.94160026379</c:v>
                </c:pt>
                <c:pt idx="2">
                  <c:v>1592.72007837871</c:v>
                </c:pt>
                <c:pt idx="3">
                  <c:v>1452.9953053425099</c:v>
                </c:pt>
                <c:pt idx="4">
                  <c:v>1228.34443935731</c:v>
                </c:pt>
                <c:pt idx="5">
                  <c:v>905.95739936376503</c:v>
                </c:pt>
                <c:pt idx="6">
                  <c:v>1029.6695710757799</c:v>
                </c:pt>
                <c:pt idx="7">
                  <c:v>908.09241287365705</c:v>
                </c:pt>
                <c:pt idx="8">
                  <c:v>922.44444813459097</c:v>
                </c:pt>
                <c:pt idx="9">
                  <c:v>1147.8069852897499</c:v>
                </c:pt>
                <c:pt idx="10">
                  <c:v>1257.99740477246</c:v>
                </c:pt>
                <c:pt idx="11">
                  <c:v>1723.6675736520299</c:v>
                </c:pt>
                <c:pt idx="12">
                  <c:v>1962.55186303651</c:v>
                </c:pt>
                <c:pt idx="13">
                  <c:v>1706.1130181262599</c:v>
                </c:pt>
                <c:pt idx="14">
                  <c:v>1840.85609297272</c:v>
                </c:pt>
                <c:pt idx="15">
                  <c:v>1762.8094880000299</c:v>
                </c:pt>
                <c:pt idx="16">
                  <c:v>1859.478155253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691280497940653E-2"/>
                  <c:y val="-8.9243512370193817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4.02 - 02.03</c:v>
                </c:pt>
                <c:pt idx="1">
                  <c:v>03.03 - 09.03</c:v>
                </c:pt>
                <c:pt idx="2">
                  <c:v>10.03 - 16.03</c:v>
                </c:pt>
                <c:pt idx="3">
                  <c:v>17.03 - 23.03</c:v>
                </c:pt>
                <c:pt idx="4">
                  <c:v>24.03 - 30.03</c:v>
                </c:pt>
                <c:pt idx="5">
                  <c:v>31.03 - 06.04</c:v>
                </c:pt>
                <c:pt idx="6">
                  <c:v>07.04 - 13.04</c:v>
                </c:pt>
                <c:pt idx="7">
                  <c:v>14.04 - 20.04</c:v>
                </c:pt>
                <c:pt idx="8">
                  <c:v>21.04 - 27.04</c:v>
                </c:pt>
                <c:pt idx="9">
                  <c:v>28.04 - 04.05</c:v>
                </c:pt>
                <c:pt idx="10">
                  <c:v>05.05 - 11.05</c:v>
                </c:pt>
                <c:pt idx="11">
                  <c:v>12.05 - 18.05</c:v>
                </c:pt>
                <c:pt idx="12">
                  <c:v>19.05 - 25.05</c:v>
                </c:pt>
                <c:pt idx="13">
                  <c:v>26.05 - 01.06</c:v>
                </c:pt>
                <c:pt idx="14">
                  <c:v>02.06 - 08.06</c:v>
                </c:pt>
                <c:pt idx="15">
                  <c:v>09.06 - 15.06</c:v>
                </c:pt>
                <c:pt idx="16">
                  <c:v>16.06 - 22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0.403685827116998</c:v>
                </c:pt>
                <c:pt idx="1">
                  <c:v>20.703933747412002</c:v>
                </c:pt>
                <c:pt idx="2">
                  <c:v>24.545454545454</c:v>
                </c:pt>
                <c:pt idx="3">
                  <c:v>22.667829119442001</c:v>
                </c:pt>
                <c:pt idx="4">
                  <c:v>20.390455531453</c:v>
                </c:pt>
                <c:pt idx="5">
                  <c:v>18.944099378880999</c:v>
                </c:pt>
                <c:pt idx="6">
                  <c:v>19.179734620024</c:v>
                </c:pt>
                <c:pt idx="7">
                  <c:v>17.629629629629001</c:v>
                </c:pt>
                <c:pt idx="8">
                  <c:v>12.984822934232</c:v>
                </c:pt>
                <c:pt idx="9">
                  <c:v>11.620795107033</c:v>
                </c:pt>
                <c:pt idx="10">
                  <c:v>9.065934065934</c:v>
                </c:pt>
                <c:pt idx="11">
                  <c:v>4.9635036496350002</c:v>
                </c:pt>
                <c:pt idx="12">
                  <c:v>2.642559109874</c:v>
                </c:pt>
                <c:pt idx="13">
                  <c:v>1.8156424580999999</c:v>
                </c:pt>
                <c:pt idx="14">
                  <c:v>1.4040561622459999</c:v>
                </c:pt>
                <c:pt idx="15">
                  <c:v>0.78431372549</c:v>
                </c:pt>
                <c:pt idx="16">
                  <c:v>0.966183574878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8788107867409221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4.02 - 02.03</c:v>
                </c:pt>
                <c:pt idx="1">
                  <c:v>03.03 - 09.03</c:v>
                </c:pt>
                <c:pt idx="2">
                  <c:v>10.03 - 16.03</c:v>
                </c:pt>
                <c:pt idx="3">
                  <c:v>17.03 - 23.03</c:v>
                </c:pt>
                <c:pt idx="4">
                  <c:v>24.03 - 30.03</c:v>
                </c:pt>
                <c:pt idx="5">
                  <c:v>31.03 - 06.04</c:v>
                </c:pt>
                <c:pt idx="6">
                  <c:v>07.04 - 13.04</c:v>
                </c:pt>
                <c:pt idx="7">
                  <c:v>14.04 - 20.04</c:v>
                </c:pt>
                <c:pt idx="8">
                  <c:v>21.04 - 27.04</c:v>
                </c:pt>
                <c:pt idx="9">
                  <c:v>28.04 - 04.05</c:v>
                </c:pt>
                <c:pt idx="10">
                  <c:v>05.05 - 11.05</c:v>
                </c:pt>
                <c:pt idx="11">
                  <c:v>12.05 - 18.05</c:v>
                </c:pt>
                <c:pt idx="12">
                  <c:v>19.05 - 25.05</c:v>
                </c:pt>
                <c:pt idx="13">
                  <c:v>26.05 - 01.06</c:v>
                </c:pt>
                <c:pt idx="14">
                  <c:v>02.06 - 08.06</c:v>
                </c:pt>
                <c:pt idx="15">
                  <c:v>09.06 - 15.06</c:v>
                </c:pt>
                <c:pt idx="16">
                  <c:v>16.06 - 22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9.789473684210002</c:v>
                </c:pt>
                <c:pt idx="1">
                  <c:v>22.391930835734001</c:v>
                </c:pt>
                <c:pt idx="2">
                  <c:v>27.686973749380002</c:v>
                </c:pt>
                <c:pt idx="3">
                  <c:v>27.122015915119</c:v>
                </c:pt>
                <c:pt idx="4">
                  <c:v>22.482269503546</c:v>
                </c:pt>
                <c:pt idx="5">
                  <c:v>20.730397422126</c:v>
                </c:pt>
                <c:pt idx="6">
                  <c:v>20.391061452513</c:v>
                </c:pt>
                <c:pt idx="7">
                  <c:v>14.968376669009</c:v>
                </c:pt>
                <c:pt idx="8">
                  <c:v>13.453815261043999</c:v>
                </c:pt>
                <c:pt idx="9">
                  <c:v>7.8051087984859997</c:v>
                </c:pt>
                <c:pt idx="10">
                  <c:v>6.115515288788</c:v>
                </c:pt>
                <c:pt idx="11">
                  <c:v>3.2925682031979999</c:v>
                </c:pt>
                <c:pt idx="12">
                  <c:v>0.84193804606800005</c:v>
                </c:pt>
                <c:pt idx="13">
                  <c:v>1.110645431684</c:v>
                </c:pt>
                <c:pt idx="14">
                  <c:v>0.25281253950100002</c:v>
                </c:pt>
                <c:pt idx="15">
                  <c:v>0.26816840976099998</c:v>
                </c:pt>
                <c:pt idx="16">
                  <c:v>0.223526124614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6.2550406639208522E-2"/>
                  <c:y val="-0.20666918654150146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3BA-40DA-B60C-C8A480E48534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4.02 - 02.03</c:v>
                </c:pt>
                <c:pt idx="1">
                  <c:v>03.03 - 09.03</c:v>
                </c:pt>
                <c:pt idx="2">
                  <c:v>10.03 - 16.03</c:v>
                </c:pt>
                <c:pt idx="3">
                  <c:v>17.03 - 23.03</c:v>
                </c:pt>
                <c:pt idx="4">
                  <c:v>24.03 - 30.03</c:v>
                </c:pt>
                <c:pt idx="5">
                  <c:v>31.03 - 06.04</c:v>
                </c:pt>
                <c:pt idx="6">
                  <c:v>07.04 - 13.04</c:v>
                </c:pt>
                <c:pt idx="7">
                  <c:v>14.04 - 20.04</c:v>
                </c:pt>
                <c:pt idx="8">
                  <c:v>21.04 - 27.04</c:v>
                </c:pt>
                <c:pt idx="9">
                  <c:v>28.04 - 04.05</c:v>
                </c:pt>
                <c:pt idx="10">
                  <c:v>05.05 - 11.05</c:v>
                </c:pt>
                <c:pt idx="11">
                  <c:v>12.05 - 18.05</c:v>
                </c:pt>
                <c:pt idx="12">
                  <c:v>19.05 - 25.05</c:v>
                </c:pt>
                <c:pt idx="13">
                  <c:v>26.05 - 01.06</c:v>
                </c:pt>
                <c:pt idx="14">
                  <c:v>02.06 - 08.06</c:v>
                </c:pt>
                <c:pt idx="15">
                  <c:v>09.06 - 15.06</c:v>
                </c:pt>
                <c:pt idx="16">
                  <c:v>16.06 - 22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33.358283433133003</c:v>
                </c:pt>
                <c:pt idx="1">
                  <c:v>29.862327909887</c:v>
                </c:pt>
                <c:pt idx="2">
                  <c:v>30.405405405404998</c:v>
                </c:pt>
                <c:pt idx="3">
                  <c:v>27.201051248357</c:v>
                </c:pt>
                <c:pt idx="4">
                  <c:v>22.741555380988999</c:v>
                </c:pt>
                <c:pt idx="5">
                  <c:v>18.466353677621001</c:v>
                </c:pt>
                <c:pt idx="6">
                  <c:v>18.730529595015</c:v>
                </c:pt>
                <c:pt idx="7">
                  <c:v>14.960629921259001</c:v>
                </c:pt>
                <c:pt idx="8">
                  <c:v>13.743842364532</c:v>
                </c:pt>
                <c:pt idx="9">
                  <c:v>8.8310580204770002</c:v>
                </c:pt>
                <c:pt idx="10">
                  <c:v>4.5775729646689998</c:v>
                </c:pt>
                <c:pt idx="11">
                  <c:v>2.3847889139539999</c:v>
                </c:pt>
                <c:pt idx="12">
                  <c:v>1.2587565674250001</c:v>
                </c:pt>
                <c:pt idx="13">
                  <c:v>1.099487617421</c:v>
                </c:pt>
                <c:pt idx="14">
                  <c:v>0.59914407988499996</c:v>
                </c:pt>
                <c:pt idx="15">
                  <c:v>0.57434588385399998</c:v>
                </c:pt>
                <c:pt idx="16">
                  <c:v>0.387270584272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BA-40DA-B60C-C8A480E48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7.8188008299010653E-3"/>
                  <c:y val="-0.12681972810501224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4.02 - 02.03</c:v>
                </c:pt>
                <c:pt idx="1">
                  <c:v>03.03 - 09.03</c:v>
                </c:pt>
                <c:pt idx="2">
                  <c:v>10.03 - 16.03</c:v>
                </c:pt>
                <c:pt idx="3">
                  <c:v>17.03 - 23.03</c:v>
                </c:pt>
                <c:pt idx="4">
                  <c:v>24.03 - 30.03</c:v>
                </c:pt>
                <c:pt idx="5">
                  <c:v>31.03 - 06.04</c:v>
                </c:pt>
                <c:pt idx="6">
                  <c:v>07.04 - 13.04</c:v>
                </c:pt>
                <c:pt idx="7">
                  <c:v>14.04 - 20.04</c:v>
                </c:pt>
                <c:pt idx="8">
                  <c:v>21.04 - 27.04</c:v>
                </c:pt>
                <c:pt idx="9">
                  <c:v>28.04 - 04.05</c:v>
                </c:pt>
                <c:pt idx="10">
                  <c:v>05.05 - 11.05</c:v>
                </c:pt>
                <c:pt idx="11">
                  <c:v>12.05 - 18.05</c:v>
                </c:pt>
                <c:pt idx="12">
                  <c:v>19.05 - 25.05</c:v>
                </c:pt>
                <c:pt idx="13">
                  <c:v>26.05 - 01.06</c:v>
                </c:pt>
                <c:pt idx="14">
                  <c:v>02.06 - 08.06</c:v>
                </c:pt>
                <c:pt idx="15">
                  <c:v>09.06 - 15.06</c:v>
                </c:pt>
                <c:pt idx="16">
                  <c:v>16.06 - 22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6.124358587383</c:v>
                </c:pt>
                <c:pt idx="1">
                  <c:v>30.411613377434001</c:v>
                </c:pt>
                <c:pt idx="2">
                  <c:v>38.166752977731001</c:v>
                </c:pt>
                <c:pt idx="3">
                  <c:v>37.848366796523003</c:v>
                </c:pt>
                <c:pt idx="4">
                  <c:v>37.361008154187999</c:v>
                </c:pt>
                <c:pt idx="5">
                  <c:v>33.783108445777003</c:v>
                </c:pt>
                <c:pt idx="6">
                  <c:v>31.171442936148001</c:v>
                </c:pt>
                <c:pt idx="7">
                  <c:v>27.615298087738999</c:v>
                </c:pt>
                <c:pt idx="8">
                  <c:v>25.371207230471001</c:v>
                </c:pt>
                <c:pt idx="9">
                  <c:v>23.370638578011</c:v>
                </c:pt>
                <c:pt idx="10">
                  <c:v>23.203125</c:v>
                </c:pt>
                <c:pt idx="11">
                  <c:v>15.840893230982999</c:v>
                </c:pt>
                <c:pt idx="12">
                  <c:v>11.590909090908999</c:v>
                </c:pt>
                <c:pt idx="13">
                  <c:v>9.1002044989769999</c:v>
                </c:pt>
                <c:pt idx="14">
                  <c:v>5.3613053613049999</c:v>
                </c:pt>
                <c:pt idx="15">
                  <c:v>3.7518037518030001</c:v>
                </c:pt>
                <c:pt idx="16">
                  <c:v>1.386138613860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0333459327075069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62E-4708-B3D9-CEE9753FE499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4.02 - 02.03</c:v>
                </c:pt>
                <c:pt idx="1">
                  <c:v>03.03 - 09.03</c:v>
                </c:pt>
                <c:pt idx="2">
                  <c:v>10.03 - 16.03</c:v>
                </c:pt>
                <c:pt idx="3">
                  <c:v>17.03 - 23.03</c:v>
                </c:pt>
                <c:pt idx="4">
                  <c:v>24.03 - 30.03</c:v>
                </c:pt>
                <c:pt idx="5">
                  <c:v>31.03 - 06.04</c:v>
                </c:pt>
                <c:pt idx="6">
                  <c:v>07.04 - 13.04</c:v>
                </c:pt>
                <c:pt idx="7">
                  <c:v>14.04 - 20.04</c:v>
                </c:pt>
                <c:pt idx="8">
                  <c:v>21.04 - 27.04</c:v>
                </c:pt>
                <c:pt idx="9">
                  <c:v>28.04 - 04.05</c:v>
                </c:pt>
                <c:pt idx="10">
                  <c:v>05.05 - 11.05</c:v>
                </c:pt>
                <c:pt idx="11">
                  <c:v>12.05 - 18.05</c:v>
                </c:pt>
                <c:pt idx="12">
                  <c:v>19.05 - 25.05</c:v>
                </c:pt>
                <c:pt idx="13">
                  <c:v>26.05 - 01.06</c:v>
                </c:pt>
                <c:pt idx="14">
                  <c:v>02.06 - 08.06</c:v>
                </c:pt>
                <c:pt idx="15">
                  <c:v>09.06 - 15.06</c:v>
                </c:pt>
                <c:pt idx="16">
                  <c:v>16.06 - 22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1.038985980410001</c:v>
                </c:pt>
                <c:pt idx="1">
                  <c:v>23.958196398054</c:v>
                </c:pt>
                <c:pt idx="2">
                  <c:v>30.105840846726</c:v>
                </c:pt>
                <c:pt idx="3">
                  <c:v>28.445953858765002</c:v>
                </c:pt>
                <c:pt idx="4">
                  <c:v>28.427299703264001</c:v>
                </c:pt>
                <c:pt idx="5">
                  <c:v>24.287200832465999</c:v>
                </c:pt>
                <c:pt idx="6">
                  <c:v>21.449324901726001</c:v>
                </c:pt>
                <c:pt idx="7">
                  <c:v>14.892691415312999</c:v>
                </c:pt>
                <c:pt idx="8">
                  <c:v>10.680304471931001</c:v>
                </c:pt>
                <c:pt idx="9">
                  <c:v>7.8002125398509996</c:v>
                </c:pt>
                <c:pt idx="10">
                  <c:v>7.7076677316289999</c:v>
                </c:pt>
                <c:pt idx="11">
                  <c:v>3.8719622778380001</c:v>
                </c:pt>
                <c:pt idx="12">
                  <c:v>2.6563550773359998</c:v>
                </c:pt>
                <c:pt idx="13">
                  <c:v>1.8243003896559999</c:v>
                </c:pt>
                <c:pt idx="14">
                  <c:v>1.132300357568</c:v>
                </c:pt>
                <c:pt idx="15">
                  <c:v>0.58128269715100001</c:v>
                </c:pt>
                <c:pt idx="16">
                  <c:v>0.22763088776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2E-4708-B3D9-CEE9753FE4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1.1728201244851596E-2"/>
                  <c:y val="-9.3940539337046075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4.02 - 02.03</c:v>
                </c:pt>
                <c:pt idx="1">
                  <c:v>03.03 - 09.03</c:v>
                </c:pt>
                <c:pt idx="2">
                  <c:v>10.03 - 16.03</c:v>
                </c:pt>
                <c:pt idx="3">
                  <c:v>17.03 - 23.03</c:v>
                </c:pt>
                <c:pt idx="4">
                  <c:v>24.03 - 30.03</c:v>
                </c:pt>
                <c:pt idx="5">
                  <c:v>31.03 - 06.04</c:v>
                </c:pt>
                <c:pt idx="6">
                  <c:v>07.04 - 13.04</c:v>
                </c:pt>
                <c:pt idx="7">
                  <c:v>14.04 - 20.04</c:v>
                </c:pt>
                <c:pt idx="8">
                  <c:v>21.04 - 27.04</c:v>
                </c:pt>
                <c:pt idx="9">
                  <c:v>28.04 - 04.05</c:v>
                </c:pt>
                <c:pt idx="10">
                  <c:v>05.05 - 11.05</c:v>
                </c:pt>
                <c:pt idx="11">
                  <c:v>12.05 - 18.05</c:v>
                </c:pt>
                <c:pt idx="12">
                  <c:v>19.05 - 25.05</c:v>
                </c:pt>
                <c:pt idx="13">
                  <c:v>26.05 - 01.06</c:v>
                </c:pt>
                <c:pt idx="14">
                  <c:v>02.06 - 08.06</c:v>
                </c:pt>
                <c:pt idx="15">
                  <c:v>09.06 - 15.06</c:v>
                </c:pt>
                <c:pt idx="16">
                  <c:v>16.06 - 22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9.435994930290999</c:v>
                </c:pt>
                <c:pt idx="1">
                  <c:v>29.755149630780998</c:v>
                </c:pt>
                <c:pt idx="2">
                  <c:v>28.701221328567001</c:v>
                </c:pt>
                <c:pt idx="3">
                  <c:v>26.097959183673002</c:v>
                </c:pt>
                <c:pt idx="4">
                  <c:v>22.827346465815999</c:v>
                </c:pt>
                <c:pt idx="5">
                  <c:v>19.455354804921999</c:v>
                </c:pt>
                <c:pt idx="6">
                  <c:v>18.523211611564999</c:v>
                </c:pt>
                <c:pt idx="7">
                  <c:v>13.714733542318999</c:v>
                </c:pt>
                <c:pt idx="8">
                  <c:v>11.212549826410999</c:v>
                </c:pt>
                <c:pt idx="9">
                  <c:v>7.4196548517099998</c:v>
                </c:pt>
                <c:pt idx="10">
                  <c:v>5.1668866679230003</c:v>
                </c:pt>
                <c:pt idx="11">
                  <c:v>2.718139278832</c:v>
                </c:pt>
                <c:pt idx="12">
                  <c:v>1.631814335791</c:v>
                </c:pt>
                <c:pt idx="13">
                  <c:v>1.41129032258</c:v>
                </c:pt>
                <c:pt idx="14">
                  <c:v>1.224226804123</c:v>
                </c:pt>
                <c:pt idx="15">
                  <c:v>0.86798546628899997</c:v>
                </c:pt>
                <c:pt idx="16">
                  <c:v>0.299802258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ardubický kraj</c:v>
                </c:pt>
                <c:pt idx="1">
                  <c:v>Jihočeský kraj</c:v>
                </c:pt>
                <c:pt idx="2">
                  <c:v>Hlavní město Praha</c:v>
                </c:pt>
                <c:pt idx="3">
                  <c:v>Úste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Moravskoslezský kraj</c:v>
                </c:pt>
                <c:pt idx="7">
                  <c:v>Liberecký kraj</c:v>
                </c:pt>
                <c:pt idx="8">
                  <c:v>Královéhradecký kraj</c:v>
                </c:pt>
                <c:pt idx="9">
                  <c:v>Plzeňský kraj</c:v>
                </c:pt>
                <c:pt idx="10">
                  <c:v>Karlovarský kraj</c:v>
                </c:pt>
                <c:pt idx="11">
                  <c:v>Kraj Vysočina</c:v>
                </c:pt>
                <c:pt idx="12">
                  <c:v>Jihomoravský kraj</c:v>
                </c:pt>
                <c:pt idx="13">
                  <c:v>Olomoucký kraj</c:v>
                </c:pt>
                <c:pt idx="14">
                  <c:v>Zlín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51.51515151515099</c:v>
                </c:pt>
                <c:pt idx="1">
                  <c:v>255.30651625352499</c:v>
                </c:pt>
                <c:pt idx="2">
                  <c:v>157.16879386499701</c:v>
                </c:pt>
                <c:pt idx="3">
                  <c:v>244.75610054580599</c:v>
                </c:pt>
                <c:pt idx="4">
                  <c:v>125.390277237902</c:v>
                </c:pt>
                <c:pt idx="5">
                  <c:v>158.127990240841</c:v>
                </c:pt>
                <c:pt idx="6">
                  <c:v>173.29867359861299</c:v>
                </c:pt>
                <c:pt idx="7">
                  <c:v>139.69436566058499</c:v>
                </c:pt>
                <c:pt idx="8">
                  <c:v>50.168422561455998</c:v>
                </c:pt>
                <c:pt idx="9">
                  <c:v>69.044879171461005</c:v>
                </c:pt>
                <c:pt idx="10">
                  <c:v>124.01517362124299</c:v>
                </c:pt>
                <c:pt idx="11">
                  <c:v>224.08126680609499</c:v>
                </c:pt>
                <c:pt idx="12">
                  <c:v>152.87311531428901</c:v>
                </c:pt>
                <c:pt idx="13">
                  <c:v>167.85180211798399</c:v>
                </c:pt>
                <c:pt idx="14">
                  <c:v>159.2464593074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ardubický kraj</c:v>
                </c:pt>
                <c:pt idx="1">
                  <c:v>Jihočeský kraj</c:v>
                </c:pt>
                <c:pt idx="2">
                  <c:v>Hlavní město Praha</c:v>
                </c:pt>
                <c:pt idx="3">
                  <c:v>Úste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Moravskoslezský kraj</c:v>
                </c:pt>
                <c:pt idx="7">
                  <c:v>Liberecký kraj</c:v>
                </c:pt>
                <c:pt idx="8">
                  <c:v>Královéhradecký kraj</c:v>
                </c:pt>
                <c:pt idx="9">
                  <c:v>Plzeňský kraj</c:v>
                </c:pt>
                <c:pt idx="10">
                  <c:v>Karlovarský kraj</c:v>
                </c:pt>
                <c:pt idx="11">
                  <c:v>Kraj Vysočina</c:v>
                </c:pt>
                <c:pt idx="12">
                  <c:v>Jihomoravský kraj</c:v>
                </c:pt>
                <c:pt idx="13">
                  <c:v>Olomoucký kraj</c:v>
                </c:pt>
                <c:pt idx="14">
                  <c:v>Zlín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72.150072150072006</c:v>
                </c:pt>
                <c:pt idx="1">
                  <c:v>145.46534065607801</c:v>
                </c:pt>
                <c:pt idx="2">
                  <c:v>75.874590141721995</c:v>
                </c:pt>
                <c:pt idx="3">
                  <c:v>163.98658736569001</c:v>
                </c:pt>
                <c:pt idx="4">
                  <c:v>82.757582977015005</c:v>
                </c:pt>
                <c:pt idx="5">
                  <c:v>94.841537067527</c:v>
                </c:pt>
                <c:pt idx="6">
                  <c:v>111.644337799106</c:v>
                </c:pt>
                <c:pt idx="7">
                  <c:v>42.331625957752998</c:v>
                </c:pt>
                <c:pt idx="8">
                  <c:v>50.168422561455998</c:v>
                </c:pt>
                <c:pt idx="9">
                  <c:v>55.893473614991997</c:v>
                </c:pt>
                <c:pt idx="10">
                  <c:v>14.590020426028</c:v>
                </c:pt>
                <c:pt idx="11">
                  <c:v>134.44876008365699</c:v>
                </c:pt>
                <c:pt idx="12">
                  <c:v>91.424117982073994</c:v>
                </c:pt>
                <c:pt idx="13">
                  <c:v>82.399975585191996</c:v>
                </c:pt>
                <c:pt idx="14">
                  <c:v>155.858236768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ardubický kraj</c:v>
                </c:pt>
                <c:pt idx="1">
                  <c:v>Jihočeský kraj</c:v>
                </c:pt>
                <c:pt idx="2">
                  <c:v>Hlavní město Praha</c:v>
                </c:pt>
                <c:pt idx="3">
                  <c:v>Úste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Moravskoslezský kraj</c:v>
                </c:pt>
                <c:pt idx="7">
                  <c:v>Liberecký kraj</c:v>
                </c:pt>
                <c:pt idx="8">
                  <c:v>Královéhradecký kraj</c:v>
                </c:pt>
                <c:pt idx="9">
                  <c:v>Plzeňský kraj</c:v>
                </c:pt>
                <c:pt idx="10">
                  <c:v>Karlovarský kraj</c:v>
                </c:pt>
                <c:pt idx="11">
                  <c:v>Kraj Vysočina</c:v>
                </c:pt>
                <c:pt idx="12">
                  <c:v>Jihomoravský kraj</c:v>
                </c:pt>
                <c:pt idx="13">
                  <c:v>Olomoucký kraj</c:v>
                </c:pt>
                <c:pt idx="14">
                  <c:v>Zlín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3.6075036075029998</c:v>
                </c:pt>
                <c:pt idx="1">
                  <c:v>5.937360843105</c:v>
                </c:pt>
                <c:pt idx="2">
                  <c:v>4.0647101861630004</c:v>
                </c:pt>
                <c:pt idx="3">
                  <c:v>2.4475610054580001</c:v>
                </c:pt>
                <c:pt idx="4">
                  <c:v>11.285124951410999</c:v>
                </c:pt>
                <c:pt idx="5">
                  <c:v>7.0514153953549998</c:v>
                </c:pt>
                <c:pt idx="6">
                  <c:v>6.6653335999459999</c:v>
                </c:pt>
                <c:pt idx="7">
                  <c:v>12.699487787324999</c:v>
                </c:pt>
                <c:pt idx="8">
                  <c:v>3.583458754389</c:v>
                </c:pt>
                <c:pt idx="9">
                  <c:v>6.5757027782339996</c:v>
                </c:pt>
                <c:pt idx="10">
                  <c:v>0</c:v>
                </c:pt>
                <c:pt idx="11">
                  <c:v>18.673438900507001</c:v>
                </c:pt>
                <c:pt idx="12">
                  <c:v>7.4937801624649998</c:v>
                </c:pt>
                <c:pt idx="13">
                  <c:v>0</c:v>
                </c:pt>
                <c:pt idx="14">
                  <c:v>13.5528901538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F2-4B90-B8EF-7C911D5510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ardubický kraj</c:v>
                </c:pt>
                <c:pt idx="1">
                  <c:v>Jihočeský kraj</c:v>
                </c:pt>
                <c:pt idx="2">
                  <c:v>Hlavní město Praha</c:v>
                </c:pt>
                <c:pt idx="3">
                  <c:v>Úste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Moravskoslezský kraj</c:v>
                </c:pt>
                <c:pt idx="7">
                  <c:v>Liberecký kraj</c:v>
                </c:pt>
                <c:pt idx="8">
                  <c:v>Královéhradecký kraj</c:v>
                </c:pt>
                <c:pt idx="9">
                  <c:v>Plzeňský kraj</c:v>
                </c:pt>
                <c:pt idx="10">
                  <c:v>Karlovarský kraj</c:v>
                </c:pt>
                <c:pt idx="11">
                  <c:v>Kraj Vysočina</c:v>
                </c:pt>
                <c:pt idx="12">
                  <c:v>Jihomoravský kraj</c:v>
                </c:pt>
                <c:pt idx="13">
                  <c:v>Olomoucký kraj</c:v>
                </c:pt>
                <c:pt idx="14">
                  <c:v>Zlín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0.822510822510001</c:v>
                </c:pt>
                <c:pt idx="1">
                  <c:v>8.9060412646570004</c:v>
                </c:pt>
                <c:pt idx="2">
                  <c:v>8.1294203723270009</c:v>
                </c:pt>
                <c:pt idx="3">
                  <c:v>4.8951220109160003</c:v>
                </c:pt>
                <c:pt idx="4">
                  <c:v>3.7617083171369998</c:v>
                </c:pt>
                <c:pt idx="5">
                  <c:v>3.1731369279089998</c:v>
                </c:pt>
                <c:pt idx="6">
                  <c:v>1.6663333999859999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k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Jihomoravský kraj</c:v>
                </c:pt>
                <c:pt idx="1">
                  <c:v>Středočeský kraj</c:v>
                </c:pt>
                <c:pt idx="2">
                  <c:v>Hlavní město Praha</c:v>
                </c:pt>
                <c:pt idx="3">
                  <c:v>Ústecký kraj</c:v>
                </c:pt>
                <c:pt idx="4">
                  <c:v>Moravskoslezský kraj</c:v>
                </c:pt>
                <c:pt idx="5">
                  <c:v>Kraj Vysočina</c:v>
                </c:pt>
                <c:pt idx="6">
                  <c:v>Zlínský kraj</c:v>
                </c:pt>
                <c:pt idx="7">
                  <c:v>Olomoucký kraj</c:v>
                </c:pt>
                <c:pt idx="8">
                  <c:v>Liberecký kraj</c:v>
                </c:pt>
                <c:pt idx="9">
                  <c:v>Jihočeský kraj</c:v>
                </c:pt>
                <c:pt idx="10">
                  <c:v>Plzeňský kraj</c:v>
                </c:pt>
                <c:pt idx="11">
                  <c:v>Královéhradecký kraj</c:v>
                </c:pt>
                <c:pt idx="12">
                  <c:v>Pardubi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509</c:v>
                </c:pt>
                <c:pt idx="1">
                  <c:v>502</c:v>
                </c:pt>
                <c:pt idx="2">
                  <c:v>399</c:v>
                </c:pt>
                <c:pt idx="3">
                  <c:v>367</c:v>
                </c:pt>
                <c:pt idx="4">
                  <c:v>362</c:v>
                </c:pt>
                <c:pt idx="5">
                  <c:v>342</c:v>
                </c:pt>
                <c:pt idx="6">
                  <c:v>332</c:v>
                </c:pt>
                <c:pt idx="7">
                  <c:v>312</c:v>
                </c:pt>
                <c:pt idx="8">
                  <c:v>287</c:v>
                </c:pt>
                <c:pt idx="9">
                  <c:v>279</c:v>
                </c:pt>
                <c:pt idx="10">
                  <c:v>207</c:v>
                </c:pt>
                <c:pt idx="11">
                  <c:v>171</c:v>
                </c:pt>
                <c:pt idx="12">
                  <c:v>149</c:v>
                </c:pt>
                <c:pt idx="13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ardubický kraj</c:v>
                </c:pt>
                <c:pt idx="1">
                  <c:v>Jihočeský kraj</c:v>
                </c:pt>
                <c:pt idx="2">
                  <c:v>Hlavní město Praha</c:v>
                </c:pt>
                <c:pt idx="3">
                  <c:v>Úste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Moravskoslezský kraj</c:v>
                </c:pt>
                <c:pt idx="7">
                  <c:v>Liberecký kraj</c:v>
                </c:pt>
                <c:pt idx="8">
                  <c:v>Královéhradecký kraj</c:v>
                </c:pt>
                <c:pt idx="9">
                  <c:v>Plzeňský kraj</c:v>
                </c:pt>
                <c:pt idx="10">
                  <c:v>Karlovarský kraj</c:v>
                </c:pt>
                <c:pt idx="11">
                  <c:v>Kraj Vysočina</c:v>
                </c:pt>
                <c:pt idx="12">
                  <c:v>Jihomoravský kraj</c:v>
                </c:pt>
                <c:pt idx="13">
                  <c:v>Olomoucký kraj</c:v>
                </c:pt>
                <c:pt idx="14">
                  <c:v>Zlín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0.822510822510001</c:v>
                </c:pt>
                <c:pt idx="1">
                  <c:v>8.9060412646570004</c:v>
                </c:pt>
                <c:pt idx="2">
                  <c:v>8.1294203723270009</c:v>
                </c:pt>
                <c:pt idx="3">
                  <c:v>4.8951220109160003</c:v>
                </c:pt>
                <c:pt idx="4">
                  <c:v>3.7617083171369998</c:v>
                </c:pt>
                <c:pt idx="5">
                  <c:v>3.1731369279089998</c:v>
                </c:pt>
                <c:pt idx="6">
                  <c:v>1.6663333999859999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Plzeňský kraj</c:v>
                </c:pt>
                <c:pt idx="4">
                  <c:v>Moravskoslezský kraj</c:v>
                </c:pt>
                <c:pt idx="5">
                  <c:v>Středoče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Kraj Vysočina</c:v>
                </c:pt>
                <c:pt idx="9">
                  <c:v>Královéhradecký kraj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Olomoucký kraj</c:v>
                </c:pt>
                <c:pt idx="13">
                  <c:v>Karlovarský kraj</c:v>
                </c:pt>
                <c:pt idx="14">
                  <c:v>Úst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24.65931597150299</c:v>
                </c:pt>
                <c:pt idx="1">
                  <c:v>345.16142610598899</c:v>
                </c:pt>
                <c:pt idx="2">
                  <c:v>312.73085446934198</c:v>
                </c:pt>
                <c:pt idx="3">
                  <c:v>156.971159478012</c:v>
                </c:pt>
                <c:pt idx="4">
                  <c:v>235.24683185171099</c:v>
                </c:pt>
                <c:pt idx="5">
                  <c:v>192.178583417254</c:v>
                </c:pt>
                <c:pt idx="6">
                  <c:v>159.63695143622999</c:v>
                </c:pt>
                <c:pt idx="7">
                  <c:v>225.79431213375599</c:v>
                </c:pt>
                <c:pt idx="8">
                  <c:v>350.75219905187203</c:v>
                </c:pt>
                <c:pt idx="9">
                  <c:v>100.411687920473</c:v>
                </c:pt>
                <c:pt idx="10">
                  <c:v>346.94353105662401</c:v>
                </c:pt>
                <c:pt idx="11">
                  <c:v>209.57312084636101</c:v>
                </c:pt>
                <c:pt idx="12">
                  <c:v>251.514555037945</c:v>
                </c:pt>
                <c:pt idx="13">
                  <c:v>96.581031485416005</c:v>
                </c:pt>
                <c:pt idx="14">
                  <c:v>262.89147970347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2-4CBF-BBB0-B856CD71C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Plzeňský kraj</c:v>
                </c:pt>
                <c:pt idx="4">
                  <c:v>Moravskoslezský kraj</c:v>
                </c:pt>
                <c:pt idx="5">
                  <c:v>Středoče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Kraj Vysočina</c:v>
                </c:pt>
                <c:pt idx="9">
                  <c:v>Královéhradecký kraj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Olomoucký kraj</c:v>
                </c:pt>
                <c:pt idx="13">
                  <c:v>Karlovarský kraj</c:v>
                </c:pt>
                <c:pt idx="14">
                  <c:v>Úst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94.593396198527003</c:v>
                </c:pt>
                <c:pt idx="1">
                  <c:v>212.56892705307899</c:v>
                </c:pt>
                <c:pt idx="2">
                  <c:v>216.695395222851</c:v>
                </c:pt>
                <c:pt idx="3">
                  <c:v>74.971300049199002</c:v>
                </c:pt>
                <c:pt idx="4">
                  <c:v>189.14318138831001</c:v>
                </c:pt>
                <c:pt idx="5">
                  <c:v>125.88116817724</c:v>
                </c:pt>
                <c:pt idx="6">
                  <c:v>117.468700113452</c:v>
                </c:pt>
                <c:pt idx="7">
                  <c:v>146.903829876613</c:v>
                </c:pt>
                <c:pt idx="8">
                  <c:v>189.07735730140001</c:v>
                </c:pt>
                <c:pt idx="9">
                  <c:v>47.695551762225001</c:v>
                </c:pt>
                <c:pt idx="10">
                  <c:v>150.169588069285</c:v>
                </c:pt>
                <c:pt idx="11">
                  <c:v>187.15888332268599</c:v>
                </c:pt>
                <c:pt idx="12">
                  <c:v>131.224985237189</c:v>
                </c:pt>
                <c:pt idx="13">
                  <c:v>24.145257871354001</c:v>
                </c:pt>
                <c:pt idx="14">
                  <c:v>191.04536102674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12-4CBF-BBB0-B856CD71C7F9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Plzeňský kraj</c:v>
                </c:pt>
                <c:pt idx="4">
                  <c:v>Moravskoslezský kraj</c:v>
                </c:pt>
                <c:pt idx="5">
                  <c:v>Středoče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Kraj Vysočina</c:v>
                </c:pt>
                <c:pt idx="9">
                  <c:v>Královéhradecký kraj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Olomoucký kraj</c:v>
                </c:pt>
                <c:pt idx="13">
                  <c:v>Karlovarský kraj</c:v>
                </c:pt>
                <c:pt idx="14">
                  <c:v>Úst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7.736261787223</c:v>
                </c:pt>
                <c:pt idx="1">
                  <c:v>31.569642631644999</c:v>
                </c:pt>
                <c:pt idx="2">
                  <c:v>36.936715094804001</c:v>
                </c:pt>
                <c:pt idx="3">
                  <c:v>11.714265632687001</c:v>
                </c:pt>
                <c:pt idx="4">
                  <c:v>22.460752789861001</c:v>
                </c:pt>
                <c:pt idx="5">
                  <c:v>8.3920778784820005</c:v>
                </c:pt>
                <c:pt idx="6">
                  <c:v>15.060089758134</c:v>
                </c:pt>
                <c:pt idx="7">
                  <c:v>15.378017936019001</c:v>
                </c:pt>
                <c:pt idx="8">
                  <c:v>5.4805031101850004</c:v>
                </c:pt>
                <c:pt idx="9">
                  <c:v>2.5102921980109998</c:v>
                </c:pt>
                <c:pt idx="10">
                  <c:v>15.534784972683999</c:v>
                </c:pt>
                <c:pt idx="11">
                  <c:v>8.9656950094700001</c:v>
                </c:pt>
                <c:pt idx="12">
                  <c:v>24.057913960151001</c:v>
                </c:pt>
                <c:pt idx="13">
                  <c:v>9.6581031485410005</c:v>
                </c:pt>
                <c:pt idx="14">
                  <c:v>13.0629306684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12-4CBF-BBB0-B856CD71C7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Plzeňský kraj</c:v>
                </c:pt>
                <c:pt idx="4">
                  <c:v>Moravskoslezský kraj</c:v>
                </c:pt>
                <c:pt idx="5">
                  <c:v>Středoče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Kraj Vysočina</c:v>
                </c:pt>
                <c:pt idx="9">
                  <c:v>Královéhradecký kraj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Olomoucký kraj</c:v>
                </c:pt>
                <c:pt idx="13">
                  <c:v>Karlovarský kraj</c:v>
                </c:pt>
                <c:pt idx="14">
                  <c:v>Úst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20.692305418427001</c:v>
                </c:pt>
                <c:pt idx="1">
                  <c:v>12.627857052657999</c:v>
                </c:pt>
                <c:pt idx="2">
                  <c:v>12.312238364934</c:v>
                </c:pt>
                <c:pt idx="3">
                  <c:v>11.714265632687001</c:v>
                </c:pt>
                <c:pt idx="4">
                  <c:v>10.639303953092</c:v>
                </c:pt>
                <c:pt idx="5">
                  <c:v>9.2312856663300007</c:v>
                </c:pt>
                <c:pt idx="6">
                  <c:v>8.0320478710050001</c:v>
                </c:pt>
                <c:pt idx="7">
                  <c:v>6.6263004114550004</c:v>
                </c:pt>
                <c:pt idx="8">
                  <c:v>2.7402515550920001</c:v>
                </c:pt>
                <c:pt idx="9">
                  <c:v>2.5102921980109998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12-4CBF-BBB0-B856CD71C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Plzeňský kraj</c:v>
                </c:pt>
                <c:pt idx="4">
                  <c:v>Moravskoslezský kraj</c:v>
                </c:pt>
                <c:pt idx="5">
                  <c:v>Středoče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Kraj Vysočina</c:v>
                </c:pt>
                <c:pt idx="9">
                  <c:v>Královéhradecký kraj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Olomoucký kraj</c:v>
                </c:pt>
                <c:pt idx="13">
                  <c:v>Karlovarský kraj</c:v>
                </c:pt>
                <c:pt idx="14">
                  <c:v>Úst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20.692305418427001</c:v>
                </c:pt>
                <c:pt idx="1">
                  <c:v>12.627857052657999</c:v>
                </c:pt>
                <c:pt idx="2">
                  <c:v>12.312238364934</c:v>
                </c:pt>
                <c:pt idx="3">
                  <c:v>11.714265632687001</c:v>
                </c:pt>
                <c:pt idx="4">
                  <c:v>10.639303953092</c:v>
                </c:pt>
                <c:pt idx="5">
                  <c:v>9.2312856663300007</c:v>
                </c:pt>
                <c:pt idx="6">
                  <c:v>8.0320478710050001</c:v>
                </c:pt>
                <c:pt idx="7">
                  <c:v>6.6263004114550004</c:v>
                </c:pt>
                <c:pt idx="8">
                  <c:v>2.7402515550920001</c:v>
                </c:pt>
                <c:pt idx="9">
                  <c:v>2.5102921980109998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Moravskoslezský kraj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Středočeský kraj</c:v>
                </c:pt>
                <c:pt idx="5">
                  <c:v>Pardubický kraj</c:v>
                </c:pt>
                <c:pt idx="6">
                  <c:v>Zlínský kraj</c:v>
                </c:pt>
                <c:pt idx="7">
                  <c:v>ČR</c:v>
                </c:pt>
                <c:pt idx="8">
                  <c:v>Kraj Vysočina</c:v>
                </c:pt>
                <c:pt idx="9">
                  <c:v>Jihomoravský kraj</c:v>
                </c:pt>
                <c:pt idx="10">
                  <c:v>Ústecký kraj</c:v>
                </c:pt>
                <c:pt idx="11">
                  <c:v>Olomoucký kraj</c:v>
                </c:pt>
                <c:pt idx="12">
                  <c:v>Jihoče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45.64760535339002</c:v>
                </c:pt>
                <c:pt idx="1">
                  <c:v>292.89493575207803</c:v>
                </c:pt>
                <c:pt idx="2">
                  <c:v>200.77472857220701</c:v>
                </c:pt>
                <c:pt idx="3">
                  <c:v>197.316495659037</c:v>
                </c:pt>
                <c:pt idx="4">
                  <c:v>266.31724935973199</c:v>
                </c:pt>
                <c:pt idx="5">
                  <c:v>394.060262386467</c:v>
                </c:pt>
                <c:pt idx="6">
                  <c:v>357.68695767371003</c:v>
                </c:pt>
                <c:pt idx="7">
                  <c:v>289.29433059023597</c:v>
                </c:pt>
                <c:pt idx="8">
                  <c:v>452.74616526471999</c:v>
                </c:pt>
                <c:pt idx="9">
                  <c:v>250.78230764109199</c:v>
                </c:pt>
                <c:pt idx="10">
                  <c:v>362.60332053276898</c:v>
                </c:pt>
                <c:pt idx="11">
                  <c:v>335.57717276231898</c:v>
                </c:pt>
                <c:pt idx="12">
                  <c:v>368.04798255179901</c:v>
                </c:pt>
                <c:pt idx="13">
                  <c:v>129.83205595342699</c:v>
                </c:pt>
                <c:pt idx="14">
                  <c:v>161.026943663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Moravskoslezský kraj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Středočeský kraj</c:v>
                </c:pt>
                <c:pt idx="5">
                  <c:v>Pardubický kraj</c:v>
                </c:pt>
                <c:pt idx="6">
                  <c:v>Zlínský kraj</c:v>
                </c:pt>
                <c:pt idx="7">
                  <c:v>ČR</c:v>
                </c:pt>
                <c:pt idx="8">
                  <c:v>Kraj Vysočina</c:v>
                </c:pt>
                <c:pt idx="9">
                  <c:v>Jihomoravský kraj</c:v>
                </c:pt>
                <c:pt idx="10">
                  <c:v>Ústecký kraj</c:v>
                </c:pt>
                <c:pt idx="11">
                  <c:v>Olomoucký kraj</c:v>
                </c:pt>
                <c:pt idx="12">
                  <c:v>Jihoče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116.13759539873899</c:v>
                </c:pt>
                <c:pt idx="1">
                  <c:v>149.071974468799</c:v>
                </c:pt>
                <c:pt idx="2">
                  <c:v>108.025533307872</c:v>
                </c:pt>
                <c:pt idx="3">
                  <c:v>98.658247829518004</c:v>
                </c:pt>
                <c:pt idx="4">
                  <c:v>124.22465944575301</c:v>
                </c:pt>
                <c:pt idx="5">
                  <c:v>153.77961458984001</c:v>
                </c:pt>
                <c:pt idx="6">
                  <c:v>223.00236250027501</c:v>
                </c:pt>
                <c:pt idx="7">
                  <c:v>148.620662660748</c:v>
                </c:pt>
                <c:pt idx="8">
                  <c:v>239.98020781791101</c:v>
                </c:pt>
                <c:pt idx="9">
                  <c:v>175.32568410306399</c:v>
                </c:pt>
                <c:pt idx="10">
                  <c:v>209.85310282802001</c:v>
                </c:pt>
                <c:pt idx="11">
                  <c:v>155.80368735393401</c:v>
                </c:pt>
                <c:pt idx="12">
                  <c:v>198.62906994859</c:v>
                </c:pt>
                <c:pt idx="13">
                  <c:v>58.633831720902002</c:v>
                </c:pt>
                <c:pt idx="14">
                  <c:v>40.823732196316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Moravskoslezský kraj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Středočeský kraj</c:v>
                </c:pt>
                <c:pt idx="5">
                  <c:v>Pardubický kraj</c:v>
                </c:pt>
                <c:pt idx="6">
                  <c:v>Zlínský kraj</c:v>
                </c:pt>
                <c:pt idx="7">
                  <c:v>ČR</c:v>
                </c:pt>
                <c:pt idx="8">
                  <c:v>Kraj Vysočina</c:v>
                </c:pt>
                <c:pt idx="9">
                  <c:v>Jihomoravský kraj</c:v>
                </c:pt>
                <c:pt idx="10">
                  <c:v>Ústecký kraj</c:v>
                </c:pt>
                <c:pt idx="11">
                  <c:v>Olomoucký kraj</c:v>
                </c:pt>
                <c:pt idx="12">
                  <c:v>Jihoče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74.659882756331996</c:v>
                </c:pt>
                <c:pt idx="1">
                  <c:v>38.842697572855997</c:v>
                </c:pt>
                <c:pt idx="2">
                  <c:v>28.370342080855</c:v>
                </c:pt>
                <c:pt idx="3">
                  <c:v>70.156976234324006</c:v>
                </c:pt>
                <c:pt idx="4">
                  <c:v>22.973053459146001</c:v>
                </c:pt>
                <c:pt idx="5">
                  <c:v>16.819645345763</c:v>
                </c:pt>
                <c:pt idx="6">
                  <c:v>26.495330198051999</c:v>
                </c:pt>
                <c:pt idx="7">
                  <c:v>31.669367063383</c:v>
                </c:pt>
                <c:pt idx="8">
                  <c:v>17.318159327065</c:v>
                </c:pt>
                <c:pt idx="9">
                  <c:v>31.070374398011001</c:v>
                </c:pt>
                <c:pt idx="10">
                  <c:v>21.413581921226001</c:v>
                </c:pt>
                <c:pt idx="11">
                  <c:v>23.969798054451001</c:v>
                </c:pt>
                <c:pt idx="12">
                  <c:v>58.420314690761003</c:v>
                </c:pt>
                <c:pt idx="13">
                  <c:v>16.752523348829001</c:v>
                </c:pt>
                <c:pt idx="14">
                  <c:v>6.803955366051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Moravskoslezský kraj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Středočeský kraj</c:v>
                </c:pt>
                <c:pt idx="5">
                  <c:v>Pardubický kraj</c:v>
                </c:pt>
                <c:pt idx="6">
                  <c:v>Zlínský kraj</c:v>
                </c:pt>
                <c:pt idx="7">
                  <c:v>ČR</c:v>
                </c:pt>
                <c:pt idx="8">
                  <c:v>Kraj Vysočina</c:v>
                </c:pt>
                <c:pt idx="9">
                  <c:v>Jihomoravský kraj</c:v>
                </c:pt>
                <c:pt idx="10">
                  <c:v>Ústecký kraj</c:v>
                </c:pt>
                <c:pt idx="11">
                  <c:v>Olomoucký kraj</c:v>
                </c:pt>
                <c:pt idx="12">
                  <c:v>Jihoče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24.886627585444</c:v>
                </c:pt>
                <c:pt idx="1">
                  <c:v>19.946250104979999</c:v>
                </c:pt>
                <c:pt idx="2">
                  <c:v>18.549839052867</c:v>
                </c:pt>
                <c:pt idx="3">
                  <c:v>15.346838551257999</c:v>
                </c:pt>
                <c:pt idx="4">
                  <c:v>14.464515140943</c:v>
                </c:pt>
                <c:pt idx="5">
                  <c:v>14.416838867797001</c:v>
                </c:pt>
                <c:pt idx="6">
                  <c:v>13.247665099025999</c:v>
                </c:pt>
                <c:pt idx="7">
                  <c:v>12.335633612703001</c:v>
                </c:pt>
                <c:pt idx="8">
                  <c:v>9.896091044037</c:v>
                </c:pt>
                <c:pt idx="9">
                  <c:v>8.8772498280030003</c:v>
                </c:pt>
                <c:pt idx="10">
                  <c:v>7.1378606404080003</c:v>
                </c:pt>
                <c:pt idx="11">
                  <c:v>5.9924495136119997</c:v>
                </c:pt>
                <c:pt idx="12">
                  <c:v>5.8420314690759998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Moravskoslezský kraj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Středočeský kraj</c:v>
                </c:pt>
                <c:pt idx="5">
                  <c:v>Pardubický kraj</c:v>
                </c:pt>
                <c:pt idx="6">
                  <c:v>Zlínský kraj</c:v>
                </c:pt>
                <c:pt idx="7">
                  <c:v>ČR</c:v>
                </c:pt>
                <c:pt idx="8">
                  <c:v>Kraj Vysočina</c:v>
                </c:pt>
                <c:pt idx="9">
                  <c:v>Jihomoravský kraj</c:v>
                </c:pt>
                <c:pt idx="10">
                  <c:v>Ústecký kraj</c:v>
                </c:pt>
                <c:pt idx="11">
                  <c:v>Olomoucký kraj</c:v>
                </c:pt>
                <c:pt idx="12">
                  <c:v>Jihočes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24.886627585444</c:v>
                </c:pt>
                <c:pt idx="1">
                  <c:v>19.946250104979999</c:v>
                </c:pt>
                <c:pt idx="2">
                  <c:v>18.549839052867</c:v>
                </c:pt>
                <c:pt idx="3">
                  <c:v>15.346838551257999</c:v>
                </c:pt>
                <c:pt idx="4">
                  <c:v>14.464515140943</c:v>
                </c:pt>
                <c:pt idx="5">
                  <c:v>14.416838867797001</c:v>
                </c:pt>
                <c:pt idx="6">
                  <c:v>13.247665099025999</c:v>
                </c:pt>
                <c:pt idx="7">
                  <c:v>12.335633612703001</c:v>
                </c:pt>
                <c:pt idx="8">
                  <c:v>9.896091044037</c:v>
                </c:pt>
                <c:pt idx="9">
                  <c:v>8.8772498280030003</c:v>
                </c:pt>
                <c:pt idx="10">
                  <c:v>7.1378606404080003</c:v>
                </c:pt>
                <c:pt idx="11">
                  <c:v>5.9924495136119997</c:v>
                </c:pt>
                <c:pt idx="12">
                  <c:v>5.8420314690759998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Plzeňský kraj</c:v>
                </c:pt>
                <c:pt idx="2">
                  <c:v>Olomoucký kraj</c:v>
                </c:pt>
                <c:pt idx="3">
                  <c:v>Středočeský kraj</c:v>
                </c:pt>
                <c:pt idx="4">
                  <c:v>Hlavní město Praha</c:v>
                </c:pt>
                <c:pt idx="5">
                  <c:v>ČR</c:v>
                </c:pt>
                <c:pt idx="6">
                  <c:v>Kraj Vysočina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Jihočeský kraj</c:v>
                </c:pt>
                <c:pt idx="13">
                  <c:v>Liber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80.67282969243701</c:v>
                </c:pt>
                <c:pt idx="1">
                  <c:v>184.93949262252201</c:v>
                </c:pt>
                <c:pt idx="2">
                  <c:v>334.22459893048102</c:v>
                </c:pt>
                <c:pt idx="3">
                  <c:v>242.69607692544</c:v>
                </c:pt>
                <c:pt idx="4">
                  <c:v>208.34573486516999</c:v>
                </c:pt>
                <c:pt idx="5">
                  <c:v>274.267888750635</c:v>
                </c:pt>
                <c:pt idx="6">
                  <c:v>460.10131523911298</c:v>
                </c:pt>
                <c:pt idx="7">
                  <c:v>167.73598356187301</c:v>
                </c:pt>
                <c:pt idx="8">
                  <c:v>288.44568979726301</c:v>
                </c:pt>
                <c:pt idx="9">
                  <c:v>351.10118097669903</c:v>
                </c:pt>
                <c:pt idx="10">
                  <c:v>335.705653283201</c:v>
                </c:pt>
                <c:pt idx="11">
                  <c:v>226.393348151807</c:v>
                </c:pt>
                <c:pt idx="12">
                  <c:v>373.21545039495601</c:v>
                </c:pt>
                <c:pt idx="13">
                  <c:v>358.58818708057902</c:v>
                </c:pt>
                <c:pt idx="14">
                  <c:v>84.856900408854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Plzeňský kraj</c:v>
                </c:pt>
                <c:pt idx="2">
                  <c:v>Olomoucký kraj</c:v>
                </c:pt>
                <c:pt idx="3">
                  <c:v>Středočeský kraj</c:v>
                </c:pt>
                <c:pt idx="4">
                  <c:v>Hlavní město Praha</c:v>
                </c:pt>
                <c:pt idx="5">
                  <c:v>ČR</c:v>
                </c:pt>
                <c:pt idx="6">
                  <c:v>Kraj Vysočina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Jihočeský kraj</c:v>
                </c:pt>
                <c:pt idx="13">
                  <c:v>Liber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151.13152368054301</c:v>
                </c:pt>
                <c:pt idx="1">
                  <c:v>88.449322558597004</c:v>
                </c:pt>
                <c:pt idx="2">
                  <c:v>159.68508615567401</c:v>
                </c:pt>
                <c:pt idx="3">
                  <c:v>124.420140702282</c:v>
                </c:pt>
                <c:pt idx="4">
                  <c:v>117.070460543286</c:v>
                </c:pt>
                <c:pt idx="5">
                  <c:v>150.715900527505</c:v>
                </c:pt>
                <c:pt idx="6">
                  <c:v>264.90681786494298</c:v>
                </c:pt>
                <c:pt idx="7">
                  <c:v>33.547196712374003</c:v>
                </c:pt>
                <c:pt idx="8">
                  <c:v>230.756551837811</c:v>
                </c:pt>
                <c:pt idx="9">
                  <c:v>215.44845196297399</c:v>
                </c:pt>
                <c:pt idx="10">
                  <c:v>147.71048744460799</c:v>
                </c:pt>
                <c:pt idx="11">
                  <c:v>154.359101012595</c:v>
                </c:pt>
                <c:pt idx="12">
                  <c:v>239.147764330748</c:v>
                </c:pt>
                <c:pt idx="13">
                  <c:v>122.94452128477</c:v>
                </c:pt>
                <c:pt idx="14">
                  <c:v>46.285582041193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Plzeňský kraj</c:v>
                </c:pt>
                <c:pt idx="2">
                  <c:v>Olomoucký kraj</c:v>
                </c:pt>
                <c:pt idx="3">
                  <c:v>Středočeský kraj</c:v>
                </c:pt>
                <c:pt idx="4">
                  <c:v>Hlavní město Praha</c:v>
                </c:pt>
                <c:pt idx="5">
                  <c:v>ČR</c:v>
                </c:pt>
                <c:pt idx="6">
                  <c:v>Kraj Vysočina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Jihočeský kraj</c:v>
                </c:pt>
                <c:pt idx="13">
                  <c:v>Liber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33.366700033366001</c:v>
                </c:pt>
                <c:pt idx="1">
                  <c:v>56.285932537289</c:v>
                </c:pt>
                <c:pt idx="2">
                  <c:v>37.136066547831</c:v>
                </c:pt>
                <c:pt idx="3">
                  <c:v>18.432613437375</c:v>
                </c:pt>
                <c:pt idx="4">
                  <c:v>21.826696033493999</c:v>
                </c:pt>
                <c:pt idx="5">
                  <c:v>24.316082788593999</c:v>
                </c:pt>
                <c:pt idx="6">
                  <c:v>4.6474880327179999</c:v>
                </c:pt>
                <c:pt idx="7">
                  <c:v>0</c:v>
                </c:pt>
                <c:pt idx="8">
                  <c:v>24.723916268336001</c:v>
                </c:pt>
                <c:pt idx="9">
                  <c:v>26.598574316415998</c:v>
                </c:pt>
                <c:pt idx="10">
                  <c:v>13.428226131328</c:v>
                </c:pt>
                <c:pt idx="11">
                  <c:v>18.523092121510999</c:v>
                </c:pt>
                <c:pt idx="12">
                  <c:v>43.481411696499002</c:v>
                </c:pt>
                <c:pt idx="13">
                  <c:v>15.368065160596</c:v>
                </c:pt>
                <c:pt idx="14">
                  <c:v>23.142791020596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Plzeňský kraj</c:v>
                </c:pt>
                <c:pt idx="2">
                  <c:v>Olomoucký kraj</c:v>
                </c:pt>
                <c:pt idx="3">
                  <c:v>Středočeský kraj</c:v>
                </c:pt>
                <c:pt idx="4">
                  <c:v>Hlavní město Praha</c:v>
                </c:pt>
                <c:pt idx="5">
                  <c:v>ČR</c:v>
                </c:pt>
                <c:pt idx="6">
                  <c:v>Kraj Vysočina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Jihočeský kraj</c:v>
                </c:pt>
                <c:pt idx="13">
                  <c:v>Liber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3.366700033366001</c:v>
                </c:pt>
                <c:pt idx="1">
                  <c:v>28.142966268643999</c:v>
                </c:pt>
                <c:pt idx="2">
                  <c:v>18.568033273914999</c:v>
                </c:pt>
                <c:pt idx="3">
                  <c:v>18.432613437375</c:v>
                </c:pt>
                <c:pt idx="4">
                  <c:v>13.889715657678</c:v>
                </c:pt>
                <c:pt idx="5">
                  <c:v>13.143828534375</c:v>
                </c:pt>
                <c:pt idx="6">
                  <c:v>9.2949760654359999</c:v>
                </c:pt>
                <c:pt idx="7">
                  <c:v>8.3867991780929998</c:v>
                </c:pt>
                <c:pt idx="8">
                  <c:v>8.2413054227779998</c:v>
                </c:pt>
                <c:pt idx="9">
                  <c:v>5.319714863283</c:v>
                </c:pt>
                <c:pt idx="10">
                  <c:v>4.4760753771089998</c:v>
                </c:pt>
                <c:pt idx="11">
                  <c:v>4.1162426936690002</c:v>
                </c:pt>
                <c:pt idx="12">
                  <c:v>3.6234509747080001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Plzeňský kraj</c:v>
                </c:pt>
                <c:pt idx="2">
                  <c:v>Olomoucký kraj</c:v>
                </c:pt>
                <c:pt idx="3">
                  <c:v>Středočeský kraj</c:v>
                </c:pt>
                <c:pt idx="4">
                  <c:v>Hlavní město Praha</c:v>
                </c:pt>
                <c:pt idx="5">
                  <c:v>ČR</c:v>
                </c:pt>
                <c:pt idx="6">
                  <c:v>Kraj Vysočina</c:v>
                </c:pt>
                <c:pt idx="7">
                  <c:v>Královéhradecký kraj</c:v>
                </c:pt>
                <c:pt idx="8">
                  <c:v>Zlínský kraj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Jihomoravský kraj</c:v>
                </c:pt>
                <c:pt idx="12">
                  <c:v>Jihočeský kraj</c:v>
                </c:pt>
                <c:pt idx="13">
                  <c:v>Liber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3.366700033366001</c:v>
                </c:pt>
                <c:pt idx="1">
                  <c:v>28.142966268643999</c:v>
                </c:pt>
                <c:pt idx="2">
                  <c:v>18.568033273914999</c:v>
                </c:pt>
                <c:pt idx="3">
                  <c:v>18.432613437375</c:v>
                </c:pt>
                <c:pt idx="4">
                  <c:v>13.889715657678</c:v>
                </c:pt>
                <c:pt idx="5">
                  <c:v>13.143828534375</c:v>
                </c:pt>
                <c:pt idx="6">
                  <c:v>9.2949760654359999</c:v>
                </c:pt>
                <c:pt idx="7">
                  <c:v>8.3867991780929998</c:v>
                </c:pt>
                <c:pt idx="8">
                  <c:v>8.2413054227779998</c:v>
                </c:pt>
                <c:pt idx="9">
                  <c:v>5.319714863283</c:v>
                </c:pt>
                <c:pt idx="10">
                  <c:v>4.4760753771089998</c:v>
                </c:pt>
                <c:pt idx="11">
                  <c:v>4.1162426936690002</c:v>
                </c:pt>
                <c:pt idx="12">
                  <c:v>3.6234509747080001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Hlavní město Praha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ČR</c:v>
                </c:pt>
                <c:pt idx="5">
                  <c:v>Středočeský kraj</c:v>
                </c:pt>
                <c:pt idx="6">
                  <c:v>Moravskoslezský kraj</c:v>
                </c:pt>
                <c:pt idx="7">
                  <c:v>Jihomoravský kraj</c:v>
                </c:pt>
                <c:pt idx="8">
                  <c:v>Kraj Vysočina</c:v>
                </c:pt>
                <c:pt idx="9">
                  <c:v>Plzeňs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Olomou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30.46926635822803</c:v>
                </c:pt>
                <c:pt idx="1">
                  <c:v>191.52443754848699</c:v>
                </c:pt>
                <c:pt idx="2">
                  <c:v>362.04428727793203</c:v>
                </c:pt>
                <c:pt idx="3">
                  <c:v>461.69009700679499</c:v>
                </c:pt>
                <c:pt idx="4">
                  <c:v>307.03728420736701</c:v>
                </c:pt>
                <c:pt idx="5">
                  <c:v>293.741774276613</c:v>
                </c:pt>
                <c:pt idx="6">
                  <c:v>309.20622023608001</c:v>
                </c:pt>
                <c:pt idx="7">
                  <c:v>279.31615699494301</c:v>
                </c:pt>
                <c:pt idx="8">
                  <c:v>444.37390890334802</c:v>
                </c:pt>
                <c:pt idx="9">
                  <c:v>212.16066348425599</c:v>
                </c:pt>
                <c:pt idx="10">
                  <c:v>437.61594444180099</c:v>
                </c:pt>
                <c:pt idx="11">
                  <c:v>375.92826549163402</c:v>
                </c:pt>
                <c:pt idx="12">
                  <c:v>337.15150205316598</c:v>
                </c:pt>
                <c:pt idx="13">
                  <c:v>153.12422820449399</c:v>
                </c:pt>
                <c:pt idx="14">
                  <c:v>183.25087044163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Hlavní město Praha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ČR</c:v>
                </c:pt>
                <c:pt idx="5">
                  <c:v>Středočeský kraj</c:v>
                </c:pt>
                <c:pt idx="6">
                  <c:v>Moravskoslezský kraj</c:v>
                </c:pt>
                <c:pt idx="7">
                  <c:v>Jihomoravský kraj</c:v>
                </c:pt>
                <c:pt idx="8">
                  <c:v>Kraj Vysočina</c:v>
                </c:pt>
                <c:pt idx="9">
                  <c:v>Plzeňs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Olomou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108.153578080874</c:v>
                </c:pt>
                <c:pt idx="1">
                  <c:v>94.550038789759</c:v>
                </c:pt>
                <c:pt idx="2">
                  <c:v>155.76323987538899</c:v>
                </c:pt>
                <c:pt idx="3">
                  <c:v>160.8134045754</c:v>
                </c:pt>
                <c:pt idx="4">
                  <c:v>146.14664328320299</c:v>
                </c:pt>
                <c:pt idx="5">
                  <c:v>123.98191771415399</c:v>
                </c:pt>
                <c:pt idx="6">
                  <c:v>146.703681133906</c:v>
                </c:pt>
                <c:pt idx="7">
                  <c:v>199.85552612569199</c:v>
                </c:pt>
                <c:pt idx="8">
                  <c:v>211.606623287308</c:v>
                </c:pt>
                <c:pt idx="9">
                  <c:v>110.902165003134</c:v>
                </c:pt>
                <c:pt idx="10">
                  <c:v>214.05127717261999</c:v>
                </c:pt>
                <c:pt idx="11">
                  <c:v>203.371028872523</c:v>
                </c:pt>
                <c:pt idx="12">
                  <c:v>151.28593040847201</c:v>
                </c:pt>
                <c:pt idx="13">
                  <c:v>49.394912324030003</c:v>
                </c:pt>
                <c:pt idx="14">
                  <c:v>73.300348176653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Hlavní město Praha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ČR</c:v>
                </c:pt>
                <c:pt idx="5">
                  <c:v>Středočeský kraj</c:v>
                </c:pt>
                <c:pt idx="6">
                  <c:v>Moravskoslezský kraj</c:v>
                </c:pt>
                <c:pt idx="7">
                  <c:v>Jihomoravský kraj</c:v>
                </c:pt>
                <c:pt idx="8">
                  <c:v>Kraj Vysočina</c:v>
                </c:pt>
                <c:pt idx="9">
                  <c:v>Plzeňs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Olomou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44.204770774499</c:v>
                </c:pt>
                <c:pt idx="1">
                  <c:v>36.365399534521998</c:v>
                </c:pt>
                <c:pt idx="2">
                  <c:v>75.776711290728997</c:v>
                </c:pt>
                <c:pt idx="3">
                  <c:v>20.750116719406002</c:v>
                </c:pt>
                <c:pt idx="4">
                  <c:v>40.351993543680997</c:v>
                </c:pt>
                <c:pt idx="5">
                  <c:v>28.611211780188999</c:v>
                </c:pt>
                <c:pt idx="6">
                  <c:v>45.139594195047998</c:v>
                </c:pt>
                <c:pt idx="7">
                  <c:v>45.750060197446999</c:v>
                </c:pt>
                <c:pt idx="8">
                  <c:v>31.740993493095999</c:v>
                </c:pt>
                <c:pt idx="9">
                  <c:v>86.792998698104995</c:v>
                </c:pt>
                <c:pt idx="10">
                  <c:v>28.540170289681999</c:v>
                </c:pt>
                <c:pt idx="11">
                  <c:v>15.406896126706</c:v>
                </c:pt>
                <c:pt idx="12">
                  <c:v>8.6449103090549997</c:v>
                </c:pt>
                <c:pt idx="13">
                  <c:v>14.818473697209001</c:v>
                </c:pt>
                <c:pt idx="14">
                  <c:v>9.162543522081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Hlavní město Praha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ČR</c:v>
                </c:pt>
                <c:pt idx="5">
                  <c:v>Středočeský kraj</c:v>
                </c:pt>
                <c:pt idx="6">
                  <c:v>Moravskoslezský kraj</c:v>
                </c:pt>
                <c:pt idx="7">
                  <c:v>Jihomoravský kraj</c:v>
                </c:pt>
                <c:pt idx="8">
                  <c:v>Kraj Vysočina</c:v>
                </c:pt>
                <c:pt idx="9">
                  <c:v>Plzeňs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Olomou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72.102385387249001</c:v>
                </c:pt>
                <c:pt idx="1">
                  <c:v>33.941039565554</c:v>
                </c:pt>
                <c:pt idx="2">
                  <c:v>21.049086469647001</c:v>
                </c:pt>
                <c:pt idx="3">
                  <c:v>20.750116719406002</c:v>
                </c:pt>
                <c:pt idx="4">
                  <c:v>15.77866414208</c:v>
                </c:pt>
                <c:pt idx="5">
                  <c:v>15.259312949433999</c:v>
                </c:pt>
                <c:pt idx="6">
                  <c:v>13.541878258514</c:v>
                </c:pt>
                <c:pt idx="7">
                  <c:v>12.039489525644001</c:v>
                </c:pt>
                <c:pt idx="8">
                  <c:v>10.580331164365001</c:v>
                </c:pt>
                <c:pt idx="9">
                  <c:v>9.6436665220109994</c:v>
                </c:pt>
                <c:pt idx="10">
                  <c:v>9.5133900965600002</c:v>
                </c:pt>
                <c:pt idx="11">
                  <c:v>3.0813792253410002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Hlavní město Praha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ČR</c:v>
                </c:pt>
                <c:pt idx="5">
                  <c:v>Středočeský kraj</c:v>
                </c:pt>
                <c:pt idx="6">
                  <c:v>Moravskoslezský kraj</c:v>
                </c:pt>
                <c:pt idx="7">
                  <c:v>Jihomoravský kraj</c:v>
                </c:pt>
                <c:pt idx="8">
                  <c:v>Kraj Vysočina</c:v>
                </c:pt>
                <c:pt idx="9">
                  <c:v>Plzeňs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Olomou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72.102385387249001</c:v>
                </c:pt>
                <c:pt idx="1">
                  <c:v>33.941039565554</c:v>
                </c:pt>
                <c:pt idx="2">
                  <c:v>21.049086469647001</c:v>
                </c:pt>
                <c:pt idx="3">
                  <c:v>20.750116719406002</c:v>
                </c:pt>
                <c:pt idx="4">
                  <c:v>15.77866414208</c:v>
                </c:pt>
                <c:pt idx="5">
                  <c:v>15.259312949433999</c:v>
                </c:pt>
                <c:pt idx="6">
                  <c:v>13.541878258514</c:v>
                </c:pt>
                <c:pt idx="7">
                  <c:v>12.039489525644001</c:v>
                </c:pt>
                <c:pt idx="8">
                  <c:v>10.580331164365001</c:v>
                </c:pt>
                <c:pt idx="9">
                  <c:v>9.6436665220109994</c:v>
                </c:pt>
                <c:pt idx="10">
                  <c:v>9.5133900965600002</c:v>
                </c:pt>
                <c:pt idx="11">
                  <c:v>3.0813792253410002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mestnancu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Jihomoravský kraj</c:v>
                </c:pt>
                <c:pt idx="1">
                  <c:v>Kraj Vysočina</c:v>
                </c:pt>
                <c:pt idx="2">
                  <c:v>Moravskoslezský kraj</c:v>
                </c:pt>
                <c:pt idx="3">
                  <c:v>Středočeský kraj</c:v>
                </c:pt>
                <c:pt idx="4">
                  <c:v>Ústecký kraj</c:v>
                </c:pt>
                <c:pt idx="5">
                  <c:v>Jihočeský kraj</c:v>
                </c:pt>
                <c:pt idx="6">
                  <c:v>Liberecký kraj</c:v>
                </c:pt>
                <c:pt idx="7">
                  <c:v>Zlínský kraj</c:v>
                </c:pt>
                <c:pt idx="8">
                  <c:v>Olomoucký kraj</c:v>
                </c:pt>
                <c:pt idx="9">
                  <c:v>Hlavní město Praha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82</c:v>
                </c:pt>
                <c:pt idx="1">
                  <c:v>71</c:v>
                </c:pt>
                <c:pt idx="2">
                  <c:v>59</c:v>
                </c:pt>
                <c:pt idx="3">
                  <c:v>58</c:v>
                </c:pt>
                <c:pt idx="4">
                  <c:v>58</c:v>
                </c:pt>
                <c:pt idx="5">
                  <c:v>52</c:v>
                </c:pt>
                <c:pt idx="6">
                  <c:v>52</c:v>
                </c:pt>
                <c:pt idx="7">
                  <c:v>52</c:v>
                </c:pt>
                <c:pt idx="8">
                  <c:v>49</c:v>
                </c:pt>
                <c:pt idx="9">
                  <c:v>47</c:v>
                </c:pt>
                <c:pt idx="10">
                  <c:v>29</c:v>
                </c:pt>
                <c:pt idx="11">
                  <c:v>19</c:v>
                </c:pt>
                <c:pt idx="12">
                  <c:v>15</c:v>
                </c:pt>
                <c:pt idx="1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4E-4523-BB6B-1705CAE86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k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Kraj Vysočina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Ústecký kraj</c:v>
                </c:pt>
                <c:pt idx="4">
                  <c:v>Olomoucký kraj</c:v>
                </c:pt>
                <c:pt idx="5">
                  <c:v>Jihočeský kraj</c:v>
                </c:pt>
                <c:pt idx="6">
                  <c:v>Jihomoravský kraj</c:v>
                </c:pt>
                <c:pt idx="7">
                  <c:v>Plzeňský kraj</c:v>
                </c:pt>
                <c:pt idx="8">
                  <c:v>Plzeňský kraj</c:v>
                </c:pt>
                <c:pt idx="9">
                  <c:v>Hlavní město Praha</c:v>
                </c:pt>
                <c:pt idx="10">
                  <c:v>Moravskoslezský kraj</c:v>
                </c:pt>
                <c:pt idx="11">
                  <c:v>Královéhradecký kraj</c:v>
                </c:pt>
                <c:pt idx="12">
                  <c:v>Pardubi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0</c:formatCode>
                <c:ptCount val="14"/>
                <c:pt idx="0">
                  <c:v>67.479977980217711</c:v>
                </c:pt>
                <c:pt idx="1">
                  <c:v>66.78177020555755</c:v>
                </c:pt>
                <c:pt idx="2">
                  <c:v>57.458433496189919</c:v>
                </c:pt>
                <c:pt idx="3">
                  <c:v>50.586709341449264</c:v>
                </c:pt>
                <c:pt idx="4">
                  <c:v>48.172011135145652</c:v>
                </c:pt>
                <c:pt idx="5">
                  <c:v>45.408086871041036</c:v>
                </c:pt>
                <c:pt idx="6">
                  <c:v>45.177581623641458</c:v>
                </c:pt>
                <c:pt idx="7">
                  <c:v>38.621296644640218</c:v>
                </c:pt>
                <c:pt idx="8">
                  <c:v>37.898691488173597</c:v>
                </c:pt>
                <c:pt idx="9">
                  <c:v>37.343955614041327</c:v>
                </c:pt>
                <c:pt idx="10">
                  <c:v>32.381363004918924</c:v>
                </c:pt>
                <c:pt idx="11">
                  <c:v>30.989488945270026</c:v>
                </c:pt>
                <c:pt idx="12">
                  <c:v>29.069200304348673</c:v>
                </c:pt>
                <c:pt idx="13">
                  <c:v>26.476631575807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mestnancu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Kraj Vysočina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Ústecký kraj</c:v>
                </c:pt>
                <c:pt idx="4">
                  <c:v>Jihočeský kraj</c:v>
                </c:pt>
                <c:pt idx="5">
                  <c:v>Olomoucký kraj</c:v>
                </c:pt>
                <c:pt idx="6">
                  <c:v>Jihomoravský kraj</c:v>
                </c:pt>
                <c:pt idx="7">
                  <c:v>Pardubický kraj</c:v>
                </c:pt>
                <c:pt idx="8">
                  <c:v>Středočeský kraj</c:v>
                </c:pt>
                <c:pt idx="9">
                  <c:v>Moravskoslezský kraj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0</c:formatCode>
                <c:ptCount val="14"/>
                <c:pt idx="0">
                  <c:v>81.222687441370951</c:v>
                </c:pt>
                <c:pt idx="1">
                  <c:v>69.128712344792746</c:v>
                </c:pt>
                <c:pt idx="2">
                  <c:v>49.36583883952305</c:v>
                </c:pt>
                <c:pt idx="3">
                  <c:v>49.094710468177318</c:v>
                </c:pt>
                <c:pt idx="4">
                  <c:v>46.257583574999558</c:v>
                </c:pt>
                <c:pt idx="5">
                  <c:v>44.613185472490052</c:v>
                </c:pt>
                <c:pt idx="6">
                  <c:v>42.468562905264029</c:v>
                </c:pt>
                <c:pt idx="7">
                  <c:v>35.051247340939859</c:v>
                </c:pt>
                <c:pt idx="8">
                  <c:v>34.79658993418645</c:v>
                </c:pt>
                <c:pt idx="9">
                  <c:v>30.834356790091196</c:v>
                </c:pt>
                <c:pt idx="10">
                  <c:v>28.051160542163281</c:v>
                </c:pt>
                <c:pt idx="11">
                  <c:v>24.18718333884971</c:v>
                </c:pt>
                <c:pt idx="12">
                  <c:v>14.526016094825833</c:v>
                </c:pt>
                <c:pt idx="13">
                  <c:v>8.24453284415771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4E-4523-BB6B-1705CAE86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99220866411182E-2"/>
          <c:y val="2.3315360590843423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Q$1</c:f>
              <c:strCache>
                <c:ptCount val="16"/>
                <c:pt idx="0">
                  <c:v>03.03 - 09.03</c:v>
                </c:pt>
                <c:pt idx="1">
                  <c:v>10.03 - 16.03</c:v>
                </c:pt>
                <c:pt idx="2">
                  <c:v>17.03 - 23.03</c:v>
                </c:pt>
                <c:pt idx="3">
                  <c:v>24.03 - 30.03</c:v>
                </c:pt>
                <c:pt idx="4">
                  <c:v>31.03 - 06.04</c:v>
                </c:pt>
                <c:pt idx="5">
                  <c:v>07.04 - 13.04</c:v>
                </c:pt>
                <c:pt idx="6">
                  <c:v>14.04 - 20.04</c:v>
                </c:pt>
                <c:pt idx="7">
                  <c:v>21.04 - 27.04</c:v>
                </c:pt>
                <c:pt idx="8">
                  <c:v>28.04 - 04.05</c:v>
                </c:pt>
                <c:pt idx="9">
                  <c:v>05.05 - 11.05</c:v>
                </c:pt>
                <c:pt idx="10">
                  <c:v>12.05 - 18.05</c:v>
                </c:pt>
                <c:pt idx="11">
                  <c:v>19.05 - 25.05</c:v>
                </c:pt>
                <c:pt idx="12">
                  <c:v>26.05 - 01.06</c:v>
                </c:pt>
                <c:pt idx="13">
                  <c:v>02.06 - 08.06</c:v>
                </c:pt>
                <c:pt idx="14">
                  <c:v>09.06 - 15.06</c:v>
                </c:pt>
                <c:pt idx="15">
                  <c:v>16.06 - 22.06</c:v>
                </c:pt>
              </c:strCache>
            </c:strRef>
          </c:cat>
          <c:val>
            <c:numRef>
              <c:f>List1!$B$2:$Q$2</c:f>
              <c:numCache>
                <c:formatCode>General</c:formatCode>
                <c:ptCount val="16"/>
                <c:pt idx="0">
                  <c:v>266.1909</c:v>
                </c:pt>
                <c:pt idx="1">
                  <c:v>341.99360000000001</c:v>
                </c:pt>
                <c:pt idx="2">
                  <c:v>443.88659910000001</c:v>
                </c:pt>
                <c:pt idx="3">
                  <c:v>443.53399999999999</c:v>
                </c:pt>
                <c:pt idx="4">
                  <c:v>377.25069999999999</c:v>
                </c:pt>
                <c:pt idx="5">
                  <c:v>330.1825</c:v>
                </c:pt>
                <c:pt idx="6">
                  <c:v>272.53719999999998</c:v>
                </c:pt>
                <c:pt idx="7">
                  <c:v>200.78909999999999</c:v>
                </c:pt>
                <c:pt idx="8">
                  <c:v>147.02199999999999</c:v>
                </c:pt>
                <c:pt idx="9">
                  <c:v>137.15</c:v>
                </c:pt>
                <c:pt idx="10">
                  <c:v>108.0629</c:v>
                </c:pt>
                <c:pt idx="11">
                  <c:v>91.315830000000005</c:v>
                </c:pt>
                <c:pt idx="12">
                  <c:v>74.921289999999999</c:v>
                </c:pt>
                <c:pt idx="13">
                  <c:v>60.113320000000002</c:v>
                </c:pt>
                <c:pt idx="14">
                  <c:v>38.253929999999997</c:v>
                </c:pt>
                <c:pt idx="15">
                  <c:v>23.44595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Q$1</c:f>
              <c:strCache>
                <c:ptCount val="16"/>
                <c:pt idx="0">
                  <c:v>03.03 - 09.03</c:v>
                </c:pt>
                <c:pt idx="1">
                  <c:v>10.03 - 16.03</c:v>
                </c:pt>
                <c:pt idx="2">
                  <c:v>17.03 - 23.03</c:v>
                </c:pt>
                <c:pt idx="3">
                  <c:v>24.03 - 30.03</c:v>
                </c:pt>
                <c:pt idx="4">
                  <c:v>31.03 - 06.04</c:v>
                </c:pt>
                <c:pt idx="5">
                  <c:v>07.04 - 13.04</c:v>
                </c:pt>
                <c:pt idx="6">
                  <c:v>14.04 - 20.04</c:v>
                </c:pt>
                <c:pt idx="7">
                  <c:v>21.04 - 27.04</c:v>
                </c:pt>
                <c:pt idx="8">
                  <c:v>28.04 - 04.05</c:v>
                </c:pt>
                <c:pt idx="9">
                  <c:v>05.05 - 11.05</c:v>
                </c:pt>
                <c:pt idx="10">
                  <c:v>12.05 - 18.05</c:v>
                </c:pt>
                <c:pt idx="11">
                  <c:v>19.05 - 25.05</c:v>
                </c:pt>
                <c:pt idx="12">
                  <c:v>26.05 - 01.06</c:v>
                </c:pt>
                <c:pt idx="13">
                  <c:v>02.06 - 08.06</c:v>
                </c:pt>
                <c:pt idx="14">
                  <c:v>09.06 - 15.06</c:v>
                </c:pt>
                <c:pt idx="15">
                  <c:v>16.06 - 22.06</c:v>
                </c:pt>
              </c:strCache>
            </c:strRef>
          </c:cat>
          <c:val>
            <c:numRef>
              <c:f>List1!$B$3:$Q$3</c:f>
              <c:numCache>
                <c:formatCode>General</c:formatCode>
                <c:ptCount val="16"/>
                <c:pt idx="0">
                  <c:v>496.84750000000003</c:v>
                </c:pt>
                <c:pt idx="1">
                  <c:v>660.50459999999998</c:v>
                </c:pt>
                <c:pt idx="2">
                  <c:v>783.90384110000002</c:v>
                </c:pt>
                <c:pt idx="3">
                  <c:v>707.63890000000004</c:v>
                </c:pt>
                <c:pt idx="4">
                  <c:v>555.60900000000004</c:v>
                </c:pt>
                <c:pt idx="5">
                  <c:v>444.2122</c:v>
                </c:pt>
                <c:pt idx="6">
                  <c:v>356.57</c:v>
                </c:pt>
                <c:pt idx="7">
                  <c:v>255.05009999999999</c:v>
                </c:pt>
                <c:pt idx="8">
                  <c:v>191.16249999999999</c:v>
                </c:pt>
                <c:pt idx="9">
                  <c:v>198.91399999999999</c:v>
                </c:pt>
                <c:pt idx="10">
                  <c:v>174.9093</c:v>
                </c:pt>
                <c:pt idx="11">
                  <c:v>142.52799999999999</c:v>
                </c:pt>
                <c:pt idx="12">
                  <c:v>117.273</c:v>
                </c:pt>
                <c:pt idx="13">
                  <c:v>75.264769999999999</c:v>
                </c:pt>
                <c:pt idx="14">
                  <c:v>63.512459999999997</c:v>
                </c:pt>
                <c:pt idx="15">
                  <c:v>43.88360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Q$1</c:f>
              <c:strCache>
                <c:ptCount val="16"/>
                <c:pt idx="0">
                  <c:v>03.03 - 09.03</c:v>
                </c:pt>
                <c:pt idx="1">
                  <c:v>10.03 - 16.03</c:v>
                </c:pt>
                <c:pt idx="2">
                  <c:v>17.03 - 23.03</c:v>
                </c:pt>
                <c:pt idx="3">
                  <c:v>24.03 - 30.03</c:v>
                </c:pt>
                <c:pt idx="4">
                  <c:v>31.03 - 06.04</c:v>
                </c:pt>
                <c:pt idx="5">
                  <c:v>07.04 - 13.04</c:v>
                </c:pt>
                <c:pt idx="6">
                  <c:v>14.04 - 20.04</c:v>
                </c:pt>
                <c:pt idx="7">
                  <c:v>21.04 - 27.04</c:v>
                </c:pt>
                <c:pt idx="8">
                  <c:v>28.04 - 04.05</c:v>
                </c:pt>
                <c:pt idx="9">
                  <c:v>05.05 - 11.05</c:v>
                </c:pt>
                <c:pt idx="10">
                  <c:v>12.05 - 18.05</c:v>
                </c:pt>
                <c:pt idx="11">
                  <c:v>19.05 - 25.05</c:v>
                </c:pt>
                <c:pt idx="12">
                  <c:v>26.05 - 01.06</c:v>
                </c:pt>
                <c:pt idx="13">
                  <c:v>02.06 - 08.06</c:v>
                </c:pt>
                <c:pt idx="14">
                  <c:v>09.06 - 15.06</c:v>
                </c:pt>
                <c:pt idx="15">
                  <c:v>16.06 - 22.06</c:v>
                </c:pt>
              </c:strCache>
            </c:strRef>
          </c:cat>
          <c:val>
            <c:numRef>
              <c:f>List1!$B$4:$Q$4</c:f>
              <c:numCache>
                <c:formatCode>General</c:formatCode>
                <c:ptCount val="16"/>
                <c:pt idx="0">
                  <c:v>417.86959999999999</c:v>
                </c:pt>
                <c:pt idx="1">
                  <c:v>537.54899999999998</c:v>
                </c:pt>
                <c:pt idx="2">
                  <c:v>687.71157389999996</c:v>
                </c:pt>
                <c:pt idx="3">
                  <c:v>722.82069999999999</c:v>
                </c:pt>
                <c:pt idx="4">
                  <c:v>694.7097</c:v>
                </c:pt>
                <c:pt idx="5">
                  <c:v>601.00630000000001</c:v>
                </c:pt>
                <c:pt idx="6">
                  <c:v>451.1995</c:v>
                </c:pt>
                <c:pt idx="7">
                  <c:v>339.82299999999998</c:v>
                </c:pt>
                <c:pt idx="8">
                  <c:v>251.6944</c:v>
                </c:pt>
                <c:pt idx="9">
                  <c:v>229.15809999999999</c:v>
                </c:pt>
                <c:pt idx="10">
                  <c:v>170.08940000000001</c:v>
                </c:pt>
                <c:pt idx="11">
                  <c:v>143.1645</c:v>
                </c:pt>
                <c:pt idx="12">
                  <c:v>114.9349</c:v>
                </c:pt>
                <c:pt idx="13">
                  <c:v>77.690770000000001</c:v>
                </c:pt>
                <c:pt idx="14">
                  <c:v>59.898989999999998</c:v>
                </c:pt>
                <c:pt idx="15">
                  <c:v>46.85168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Q$1</c:f>
              <c:strCache>
                <c:ptCount val="16"/>
                <c:pt idx="0">
                  <c:v>03.03 - 09.03</c:v>
                </c:pt>
                <c:pt idx="1">
                  <c:v>10.03 - 16.03</c:v>
                </c:pt>
                <c:pt idx="2">
                  <c:v>17.03 - 23.03</c:v>
                </c:pt>
                <c:pt idx="3">
                  <c:v>24.03 - 30.03</c:v>
                </c:pt>
                <c:pt idx="4">
                  <c:v>31.03 - 06.04</c:v>
                </c:pt>
                <c:pt idx="5">
                  <c:v>07.04 - 13.04</c:v>
                </c:pt>
                <c:pt idx="6">
                  <c:v>14.04 - 20.04</c:v>
                </c:pt>
                <c:pt idx="7">
                  <c:v>21.04 - 27.04</c:v>
                </c:pt>
                <c:pt idx="8">
                  <c:v>28.04 - 04.05</c:v>
                </c:pt>
                <c:pt idx="9">
                  <c:v>05.05 - 11.05</c:v>
                </c:pt>
                <c:pt idx="10">
                  <c:v>12.05 - 18.05</c:v>
                </c:pt>
                <c:pt idx="11">
                  <c:v>19.05 - 25.05</c:v>
                </c:pt>
                <c:pt idx="12">
                  <c:v>26.05 - 01.06</c:v>
                </c:pt>
                <c:pt idx="13">
                  <c:v>02.06 - 08.06</c:v>
                </c:pt>
                <c:pt idx="14">
                  <c:v>09.06 - 15.06</c:v>
                </c:pt>
                <c:pt idx="15">
                  <c:v>16.06 - 22.06</c:v>
                </c:pt>
              </c:strCache>
            </c:strRef>
          </c:cat>
          <c:val>
            <c:numRef>
              <c:f>List1!$B$5:$Q$5</c:f>
              <c:numCache>
                <c:formatCode>General</c:formatCode>
                <c:ptCount val="16"/>
                <c:pt idx="0">
                  <c:v>407.5213</c:v>
                </c:pt>
                <c:pt idx="1">
                  <c:v>531.85450000000003</c:v>
                </c:pt>
                <c:pt idx="2">
                  <c:v>659.94296420000001</c:v>
                </c:pt>
                <c:pt idx="3">
                  <c:v>645.64559999999994</c:v>
                </c:pt>
                <c:pt idx="4">
                  <c:v>562.89250000000004</c:v>
                </c:pt>
                <c:pt idx="5">
                  <c:v>474.75529999999998</c:v>
                </c:pt>
                <c:pt idx="6">
                  <c:v>371.09910000000002</c:v>
                </c:pt>
                <c:pt idx="7">
                  <c:v>273.46050000000002</c:v>
                </c:pt>
                <c:pt idx="8">
                  <c:v>202.92359999999999</c:v>
                </c:pt>
                <c:pt idx="9">
                  <c:v>194.5986</c:v>
                </c:pt>
                <c:pt idx="10">
                  <c:v>155.91409999999999</c:v>
                </c:pt>
                <c:pt idx="11">
                  <c:v>129.6268</c:v>
                </c:pt>
                <c:pt idx="12">
                  <c:v>105.5112</c:v>
                </c:pt>
                <c:pt idx="13">
                  <c:v>72.301439999999999</c:v>
                </c:pt>
                <c:pt idx="14">
                  <c:v>55.651299999999999</c:v>
                </c:pt>
                <c:pt idx="15">
                  <c:v>39.77031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Q$1</c:f>
              <c:strCache>
                <c:ptCount val="16"/>
                <c:pt idx="0">
                  <c:v>03.03 - 09.03</c:v>
                </c:pt>
                <c:pt idx="1">
                  <c:v>10.03 - 16.03</c:v>
                </c:pt>
                <c:pt idx="2">
                  <c:v>17.03 - 23.03</c:v>
                </c:pt>
                <c:pt idx="3">
                  <c:v>24.03 - 30.03</c:v>
                </c:pt>
                <c:pt idx="4">
                  <c:v>31.03 - 06.04</c:v>
                </c:pt>
                <c:pt idx="5">
                  <c:v>07.04 - 13.04</c:v>
                </c:pt>
                <c:pt idx="6">
                  <c:v>14.04 - 20.04</c:v>
                </c:pt>
                <c:pt idx="7">
                  <c:v>21.04 - 27.04</c:v>
                </c:pt>
                <c:pt idx="8">
                  <c:v>28.04 - 04.05</c:v>
                </c:pt>
                <c:pt idx="9">
                  <c:v>05.05 - 11.05</c:v>
                </c:pt>
                <c:pt idx="10">
                  <c:v>12.05 - 18.05</c:v>
                </c:pt>
                <c:pt idx="11">
                  <c:v>19.05 - 25.05</c:v>
                </c:pt>
                <c:pt idx="12">
                  <c:v>26.05 - 01.06</c:v>
                </c:pt>
                <c:pt idx="13">
                  <c:v>02.06 - 08.06</c:v>
                </c:pt>
                <c:pt idx="14">
                  <c:v>09.06 - 15.06</c:v>
                </c:pt>
                <c:pt idx="15">
                  <c:v>16.06 - 22.06</c:v>
                </c:pt>
              </c:strCache>
            </c:strRef>
          </c:cat>
          <c:val>
            <c:numRef>
              <c:f>List1!$B$6:$Q$6</c:f>
              <c:numCache>
                <c:formatCode>General</c:formatCode>
                <c:ptCount val="16"/>
                <c:pt idx="0">
                  <c:v>499.60860000000002</c:v>
                </c:pt>
                <c:pt idx="1">
                  <c:v>619.40179999999998</c:v>
                </c:pt>
                <c:pt idx="2">
                  <c:v>773.89016800000002</c:v>
                </c:pt>
                <c:pt idx="3">
                  <c:v>796.8116</c:v>
                </c:pt>
                <c:pt idx="4">
                  <c:v>719.92719999999997</c:v>
                </c:pt>
                <c:pt idx="5">
                  <c:v>606.56280000000004</c:v>
                </c:pt>
                <c:pt idx="6">
                  <c:v>461.66160000000002</c:v>
                </c:pt>
                <c:pt idx="7">
                  <c:v>345.69029999999998</c:v>
                </c:pt>
                <c:pt idx="8">
                  <c:v>255.49959999999999</c:v>
                </c:pt>
                <c:pt idx="9">
                  <c:v>200.83580000000001</c:v>
                </c:pt>
                <c:pt idx="10">
                  <c:v>163.2252</c:v>
                </c:pt>
                <c:pt idx="11">
                  <c:v>134.35149999999999</c:v>
                </c:pt>
                <c:pt idx="12">
                  <c:v>101.1514</c:v>
                </c:pt>
                <c:pt idx="13">
                  <c:v>71.249849999999995</c:v>
                </c:pt>
                <c:pt idx="14">
                  <c:v>46.562359999999998</c:v>
                </c:pt>
                <c:pt idx="15">
                  <c:v>29.76141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7.0369207469109574E-2"/>
                  <c:y val="5.1667296635375344E-2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ECA-480F-AC39-EDF76856668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4.02 - 02.03</c:v>
                </c:pt>
                <c:pt idx="1">
                  <c:v>03.03 - 09.03</c:v>
                </c:pt>
                <c:pt idx="2">
                  <c:v>10.03 - 16.03</c:v>
                </c:pt>
                <c:pt idx="3">
                  <c:v>17.03 - 23.03</c:v>
                </c:pt>
                <c:pt idx="4">
                  <c:v>24.03 - 30.03</c:v>
                </c:pt>
                <c:pt idx="5">
                  <c:v>31.03 - 06.04</c:v>
                </c:pt>
                <c:pt idx="6">
                  <c:v>07.04 - 13.04</c:v>
                </c:pt>
                <c:pt idx="7">
                  <c:v>14.04 - 20.04</c:v>
                </c:pt>
                <c:pt idx="8">
                  <c:v>21.04 - 27.04</c:v>
                </c:pt>
                <c:pt idx="9">
                  <c:v>28.04 - 04.05</c:v>
                </c:pt>
                <c:pt idx="10">
                  <c:v>05.05 - 11.05</c:v>
                </c:pt>
                <c:pt idx="11">
                  <c:v>12.05 - 18.05</c:v>
                </c:pt>
                <c:pt idx="12">
                  <c:v>19.05 - 25.05</c:v>
                </c:pt>
                <c:pt idx="13">
                  <c:v>26.05 - 01.06</c:v>
                </c:pt>
                <c:pt idx="14">
                  <c:v>02.06 - 08.06</c:v>
                </c:pt>
                <c:pt idx="15">
                  <c:v>09.06 - 15.06</c:v>
                </c:pt>
                <c:pt idx="16">
                  <c:v>16.06 - 22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475.39634153573797</c:v>
                </c:pt>
                <c:pt idx="1">
                  <c:v>473.85438733414998</c:v>
                </c:pt>
                <c:pt idx="2">
                  <c:v>438.86388814426903</c:v>
                </c:pt>
                <c:pt idx="3">
                  <c:v>361.05450689490698</c:v>
                </c:pt>
                <c:pt idx="4">
                  <c:v>301.985799787921</c:v>
                </c:pt>
                <c:pt idx="5">
                  <c:v>227.37893880339601</c:v>
                </c:pt>
                <c:pt idx="6">
                  <c:v>304.595260744455</c:v>
                </c:pt>
                <c:pt idx="7">
                  <c:v>241.01930289436601</c:v>
                </c:pt>
                <c:pt idx="8">
                  <c:v>240.78207917104501</c:v>
                </c:pt>
                <c:pt idx="9">
                  <c:v>278.026203732478</c:v>
                </c:pt>
                <c:pt idx="10">
                  <c:v>386.08160970529599</c:v>
                </c:pt>
                <c:pt idx="11">
                  <c:v>736.10521346576695</c:v>
                </c:pt>
                <c:pt idx="12">
                  <c:v>1083.6379681313599</c:v>
                </c:pt>
                <c:pt idx="13">
                  <c:v>1111.15592003662</c:v>
                </c:pt>
                <c:pt idx="14">
                  <c:v>1247.2037253613501</c:v>
                </c:pt>
                <c:pt idx="15">
                  <c:v>743.45914888872505</c:v>
                </c:pt>
                <c:pt idx="16">
                  <c:v>704.435846402383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CA-480F-AC39-EDF7685666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2.7365802904653725E-2"/>
                  <c:y val="-7.9849458436489218E-2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F37-4491-852B-AB561D3BC9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4.02 - 02.03</c:v>
                </c:pt>
                <c:pt idx="1">
                  <c:v>03.03 - 09.03</c:v>
                </c:pt>
                <c:pt idx="2">
                  <c:v>10.03 - 16.03</c:v>
                </c:pt>
                <c:pt idx="3">
                  <c:v>17.03 - 23.03</c:v>
                </c:pt>
                <c:pt idx="4">
                  <c:v>24.03 - 30.03</c:v>
                </c:pt>
                <c:pt idx="5">
                  <c:v>31.03 - 06.04</c:v>
                </c:pt>
                <c:pt idx="6">
                  <c:v>07.04 - 13.04</c:v>
                </c:pt>
                <c:pt idx="7">
                  <c:v>14.04 - 20.04</c:v>
                </c:pt>
                <c:pt idx="8">
                  <c:v>21.04 - 27.04</c:v>
                </c:pt>
                <c:pt idx="9">
                  <c:v>28.04 - 04.05</c:v>
                </c:pt>
                <c:pt idx="10">
                  <c:v>05.05 - 11.05</c:v>
                </c:pt>
                <c:pt idx="11">
                  <c:v>12.05 - 18.05</c:v>
                </c:pt>
                <c:pt idx="12">
                  <c:v>19.05 - 25.05</c:v>
                </c:pt>
                <c:pt idx="13">
                  <c:v>26.05 - 01.06</c:v>
                </c:pt>
                <c:pt idx="14">
                  <c:v>02.06 - 08.06</c:v>
                </c:pt>
                <c:pt idx="15">
                  <c:v>09.06 - 15.06</c:v>
                </c:pt>
                <c:pt idx="16">
                  <c:v>16.06 - 22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604.0110371660398</c:v>
                </c:pt>
                <c:pt idx="1">
                  <c:v>1902.12329169599</c:v>
                </c:pt>
                <c:pt idx="2">
                  <c:v>1275.75036600932</c:v>
                </c:pt>
                <c:pt idx="3">
                  <c:v>1067.58451346076</c:v>
                </c:pt>
                <c:pt idx="4">
                  <c:v>842.66537307946601</c:v>
                </c:pt>
                <c:pt idx="5">
                  <c:v>600.742895793299</c:v>
                </c:pt>
                <c:pt idx="6">
                  <c:v>731.51856051750099</c:v>
                </c:pt>
                <c:pt idx="7">
                  <c:v>862.16920070563799</c:v>
                </c:pt>
                <c:pt idx="8">
                  <c:v>1051.20629923622</c:v>
                </c:pt>
                <c:pt idx="9">
                  <c:v>1176.48088437355</c:v>
                </c:pt>
                <c:pt idx="10">
                  <c:v>939.18431492180298</c:v>
                </c:pt>
                <c:pt idx="11">
                  <c:v>1378.7705837270501</c:v>
                </c:pt>
                <c:pt idx="12">
                  <c:v>1487.2918810316501</c:v>
                </c:pt>
                <c:pt idx="13">
                  <c:v>1411.77706124826</c:v>
                </c:pt>
                <c:pt idx="14">
                  <c:v>1468.5382006218699</c:v>
                </c:pt>
                <c:pt idx="15">
                  <c:v>1290.50326126502</c:v>
                </c:pt>
                <c:pt idx="16">
                  <c:v>1428.03025093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37-4491-852B-AB561D3BC9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344-4D44-AC8D-B055E249C3B6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344-4D44-AC8D-B055E249C3B6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C344-4D44-AC8D-B055E249C3B6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C344-4D44-AC8D-B055E249C3B6}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C344-4D44-AC8D-B055E249C3B6}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C344-4D44-AC8D-B055E249C3B6}"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C344-4D44-AC8D-B055E249C3B6}"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C344-4D44-AC8D-B055E249C3B6}"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C344-4D44-AC8D-B055E249C3B6}"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C344-4D44-AC8D-B055E249C3B6}"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C344-4D44-AC8D-B055E249C3B6}"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C344-4D44-AC8D-B055E249C3B6}"/>
                </c:ext>
              </c:extLst>
            </c:dLbl>
            <c:dLbl>
              <c:idx val="12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C344-4D44-AC8D-B055E249C3B6}"/>
                </c:ext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E-C344-4D44-AC8D-B055E249C3B6}"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C344-4D44-AC8D-B055E249C3B6}"/>
                </c:ext>
              </c:extLst>
            </c:dLbl>
            <c:dLbl>
              <c:idx val="15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0-C344-4D44-AC8D-B055E249C3B6}"/>
                </c:ext>
              </c:extLst>
            </c:dLbl>
            <c:dLbl>
              <c:idx val="16"/>
              <c:layout>
                <c:manualLayout>
                  <c:x val="-6.2550406639208522E-2"/>
                  <c:y val="-0.1221227011381599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B37468E-673D-436E-985F-46C9EF4516A4}" type="VALUE">
                      <a:rPr lang="en-US" smtClean="0"/>
                      <a:pPr>
                        <a:defRPr/>
                      </a:pPr>
                      <a:t>[HODNOTA]</a:t>
                    </a:fld>
                    <a:endParaRPr lang="cs-CZ"/>
                  </a:p>
                </c:rich>
              </c:tx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22.02 - 28.02</c:v>
                </c:pt>
                <c:pt idx="1">
                  <c:v>01.03 - 07.03</c:v>
                </c:pt>
                <c:pt idx="2">
                  <c:v>08.03 - 14.03</c:v>
                </c:pt>
                <c:pt idx="3">
                  <c:v>15.03 - 21.03</c:v>
                </c:pt>
                <c:pt idx="4">
                  <c:v>22.03 - 28.03</c:v>
                </c:pt>
                <c:pt idx="5">
                  <c:v>29.03 - 04.04</c:v>
                </c:pt>
                <c:pt idx="6">
                  <c:v>05.04 - 11.04</c:v>
                </c:pt>
                <c:pt idx="7">
                  <c:v>12.04 - 18.04</c:v>
                </c:pt>
                <c:pt idx="8">
                  <c:v>19.04 - 25.04</c:v>
                </c:pt>
                <c:pt idx="9">
                  <c:v>26.04 - 02.05</c:v>
                </c:pt>
                <c:pt idx="10">
                  <c:v>03.05 - 09.05</c:v>
                </c:pt>
                <c:pt idx="11">
                  <c:v>10.05 - 16.05</c:v>
                </c:pt>
                <c:pt idx="12">
                  <c:v>17.05 - 23.05</c:v>
                </c:pt>
                <c:pt idx="13">
                  <c:v>24.05 - 30.05</c:v>
                </c:pt>
                <c:pt idx="14">
                  <c:v>31.05 - 06.06</c:v>
                </c:pt>
                <c:pt idx="15">
                  <c:v>07.06 - 12.06</c:v>
                </c:pt>
                <c:pt idx="16">
                  <c:v>14.06 - 20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377.60329442127198</c:v>
                </c:pt>
                <c:pt idx="1">
                  <c:v>390.64841290267901</c:v>
                </c:pt>
                <c:pt idx="2">
                  <c:v>254.73238115720699</c:v>
                </c:pt>
                <c:pt idx="3">
                  <c:v>220.70930187461801</c:v>
                </c:pt>
                <c:pt idx="4">
                  <c:v>170.46796718271199</c:v>
                </c:pt>
                <c:pt idx="5">
                  <c:v>137.326314824543</c:v>
                </c:pt>
                <c:pt idx="6">
                  <c:v>124.28119634313499</c:v>
                </c:pt>
                <c:pt idx="7">
                  <c:v>128.68833096523201</c:v>
                </c:pt>
                <c:pt idx="8">
                  <c:v>112.117504786148</c:v>
                </c:pt>
                <c:pt idx="9">
                  <c:v>114.05664401987001</c:v>
                </c:pt>
                <c:pt idx="10">
                  <c:v>118.64006402685099</c:v>
                </c:pt>
                <c:pt idx="11">
                  <c:v>121.989486339645</c:v>
                </c:pt>
                <c:pt idx="12">
                  <c:v>127.98318942569701</c:v>
                </c:pt>
                <c:pt idx="13">
                  <c:v>124.633767112903</c:v>
                </c:pt>
                <c:pt idx="14">
                  <c:v>122.16577172452899</c:v>
                </c:pt>
                <c:pt idx="15">
                  <c:v>93.960110143107997</c:v>
                </c:pt>
                <c:pt idx="16">
                  <c:v>79.50470858263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4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4476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5193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9031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8571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03838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22814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71591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5888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3075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850896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40485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4741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82849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63260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3302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38812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57584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4476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56958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45678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484856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644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1634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1542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593027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8056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4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14599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10273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071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0638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14598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20610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57443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046000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86771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27672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4.06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4.06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9938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6967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748496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9264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24502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10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979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  <p:sldLayoutId id="2147484178" r:id="rId4"/>
    <p:sldLayoutId id="2147484179" r:id="rId5"/>
    <p:sldLayoutId id="2147484180" r:id="rId6"/>
    <p:sldLayoutId id="2147484181" r:id="rId7"/>
    <p:sldLayoutId id="2147484182" r:id="rId8"/>
    <p:sldLayoutId id="214748418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4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7299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5" r:id="rId1"/>
    <p:sldLayoutId id="2147484186" r:id="rId2"/>
    <p:sldLayoutId id="2147484187" r:id="rId3"/>
    <p:sldLayoutId id="2147484188" r:id="rId4"/>
    <p:sldLayoutId id="214748418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544191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1" r:id="rId1"/>
    <p:sldLayoutId id="2147484192" r:id="rId2"/>
    <p:sldLayoutId id="2147484193" r:id="rId3"/>
    <p:sldLayoutId id="2147484194" r:id="rId4"/>
    <p:sldLayoutId id="2147484195" r:id="rId5"/>
    <p:sldLayoutId id="2147484196" r:id="rId6"/>
    <p:sldLayoutId id="2147484197" r:id="rId7"/>
    <p:sldLayoutId id="2147484198" r:id="rId8"/>
    <p:sldLayoutId id="2147484199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26" Type="http://schemas.openxmlformats.org/officeDocument/2006/relationships/tags" Target="../tags/tag62.xml"/><Relationship Id="rId39" Type="http://schemas.openxmlformats.org/officeDocument/2006/relationships/image" Target="../media/image16.png"/><Relationship Id="rId3" Type="http://schemas.openxmlformats.org/officeDocument/2006/relationships/tags" Target="../tags/tag39.xml"/><Relationship Id="rId21" Type="http://schemas.openxmlformats.org/officeDocument/2006/relationships/tags" Target="../tags/tag57.xml"/><Relationship Id="rId34" Type="http://schemas.openxmlformats.org/officeDocument/2006/relationships/slideLayout" Target="../slideLayouts/slideLayout9.xml"/><Relationship Id="rId42" Type="http://schemas.openxmlformats.org/officeDocument/2006/relationships/image" Target="../media/image19.png"/><Relationship Id="rId47" Type="http://schemas.openxmlformats.org/officeDocument/2006/relationships/image" Target="../media/image24.png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tags" Target="../tags/tag61.xml"/><Relationship Id="rId33" Type="http://schemas.openxmlformats.org/officeDocument/2006/relationships/tags" Target="../tags/tag69.xml"/><Relationship Id="rId38" Type="http://schemas.openxmlformats.org/officeDocument/2006/relationships/image" Target="../media/image15.png"/><Relationship Id="rId46" Type="http://schemas.openxmlformats.org/officeDocument/2006/relationships/image" Target="../media/image23.png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29" Type="http://schemas.openxmlformats.org/officeDocument/2006/relationships/tags" Target="../tags/tag65.xml"/><Relationship Id="rId41" Type="http://schemas.openxmlformats.org/officeDocument/2006/relationships/image" Target="../media/image18.png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24" Type="http://schemas.openxmlformats.org/officeDocument/2006/relationships/tags" Target="../tags/tag60.xml"/><Relationship Id="rId32" Type="http://schemas.openxmlformats.org/officeDocument/2006/relationships/tags" Target="../tags/tag68.xml"/><Relationship Id="rId37" Type="http://schemas.openxmlformats.org/officeDocument/2006/relationships/image" Target="../media/image14.png"/><Relationship Id="rId40" Type="http://schemas.openxmlformats.org/officeDocument/2006/relationships/image" Target="../media/image17.png"/><Relationship Id="rId45" Type="http://schemas.openxmlformats.org/officeDocument/2006/relationships/image" Target="../media/image22.png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28" Type="http://schemas.openxmlformats.org/officeDocument/2006/relationships/tags" Target="../tags/tag64.xml"/><Relationship Id="rId36" Type="http://schemas.openxmlformats.org/officeDocument/2006/relationships/image" Target="../media/image13.png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31" Type="http://schemas.openxmlformats.org/officeDocument/2006/relationships/tags" Target="../tags/tag67.xml"/><Relationship Id="rId44" Type="http://schemas.openxmlformats.org/officeDocument/2006/relationships/image" Target="../media/image21.png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Relationship Id="rId27" Type="http://schemas.openxmlformats.org/officeDocument/2006/relationships/tags" Target="../tags/tag63.xml"/><Relationship Id="rId30" Type="http://schemas.openxmlformats.org/officeDocument/2006/relationships/tags" Target="../tags/tag66.xml"/><Relationship Id="rId35" Type="http://schemas.openxmlformats.org/officeDocument/2006/relationships/image" Target="../media/image12.png"/><Relationship Id="rId43" Type="http://schemas.openxmlformats.org/officeDocument/2006/relationships/image" Target="../media/image20.png"/><Relationship Id="rId48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26" Type="http://schemas.openxmlformats.org/officeDocument/2006/relationships/tags" Target="../tags/tag95.xml"/><Relationship Id="rId39" Type="http://schemas.openxmlformats.org/officeDocument/2006/relationships/image" Target="../media/image30.png"/><Relationship Id="rId3" Type="http://schemas.openxmlformats.org/officeDocument/2006/relationships/tags" Target="../tags/tag72.xml"/><Relationship Id="rId21" Type="http://schemas.openxmlformats.org/officeDocument/2006/relationships/tags" Target="../tags/tag90.xml"/><Relationship Id="rId34" Type="http://schemas.openxmlformats.org/officeDocument/2006/relationships/slideLayout" Target="../slideLayouts/slideLayout9.xml"/><Relationship Id="rId42" Type="http://schemas.openxmlformats.org/officeDocument/2006/relationships/image" Target="../media/image33.png"/><Relationship Id="rId47" Type="http://schemas.openxmlformats.org/officeDocument/2006/relationships/image" Target="../media/image38.png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5" Type="http://schemas.openxmlformats.org/officeDocument/2006/relationships/tags" Target="../tags/tag94.xml"/><Relationship Id="rId33" Type="http://schemas.openxmlformats.org/officeDocument/2006/relationships/tags" Target="../tags/tag102.xml"/><Relationship Id="rId38" Type="http://schemas.openxmlformats.org/officeDocument/2006/relationships/image" Target="../media/image29.png"/><Relationship Id="rId46" Type="http://schemas.openxmlformats.org/officeDocument/2006/relationships/image" Target="../media/image37.png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tags" Target="../tags/tag89.xml"/><Relationship Id="rId29" Type="http://schemas.openxmlformats.org/officeDocument/2006/relationships/tags" Target="../tags/tag98.xml"/><Relationship Id="rId41" Type="http://schemas.openxmlformats.org/officeDocument/2006/relationships/image" Target="../media/image32.png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24" Type="http://schemas.openxmlformats.org/officeDocument/2006/relationships/tags" Target="../tags/tag93.xml"/><Relationship Id="rId32" Type="http://schemas.openxmlformats.org/officeDocument/2006/relationships/tags" Target="../tags/tag101.xml"/><Relationship Id="rId37" Type="http://schemas.openxmlformats.org/officeDocument/2006/relationships/image" Target="../media/image28.png"/><Relationship Id="rId40" Type="http://schemas.openxmlformats.org/officeDocument/2006/relationships/image" Target="../media/image31.png"/><Relationship Id="rId45" Type="http://schemas.openxmlformats.org/officeDocument/2006/relationships/image" Target="../media/image36.png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23" Type="http://schemas.openxmlformats.org/officeDocument/2006/relationships/tags" Target="../tags/tag92.xml"/><Relationship Id="rId28" Type="http://schemas.openxmlformats.org/officeDocument/2006/relationships/tags" Target="../tags/tag97.xml"/><Relationship Id="rId36" Type="http://schemas.openxmlformats.org/officeDocument/2006/relationships/image" Target="../media/image27.png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31" Type="http://schemas.openxmlformats.org/officeDocument/2006/relationships/tags" Target="../tags/tag100.xml"/><Relationship Id="rId44" Type="http://schemas.openxmlformats.org/officeDocument/2006/relationships/image" Target="../media/image35.png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Relationship Id="rId22" Type="http://schemas.openxmlformats.org/officeDocument/2006/relationships/tags" Target="../tags/tag91.xml"/><Relationship Id="rId27" Type="http://schemas.openxmlformats.org/officeDocument/2006/relationships/tags" Target="../tags/tag96.xml"/><Relationship Id="rId30" Type="http://schemas.openxmlformats.org/officeDocument/2006/relationships/tags" Target="../tags/tag99.xml"/><Relationship Id="rId35" Type="http://schemas.openxmlformats.org/officeDocument/2006/relationships/image" Target="../media/image26.png"/><Relationship Id="rId43" Type="http://schemas.openxmlformats.org/officeDocument/2006/relationships/image" Target="../media/image34.png"/><Relationship Id="rId48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0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0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slideLayout" Target="../slideLayouts/slideLayout9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12" Type="http://schemas.openxmlformats.org/officeDocument/2006/relationships/tags" Target="../tags/tag120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11" Type="http://schemas.openxmlformats.org/officeDocument/2006/relationships/tags" Target="../tags/tag119.xml"/><Relationship Id="rId5" Type="http://schemas.openxmlformats.org/officeDocument/2006/relationships/tags" Target="../tags/tag113.xml"/><Relationship Id="rId10" Type="http://schemas.openxmlformats.org/officeDocument/2006/relationships/tags" Target="../tags/tag118.xml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4" Type="http://schemas.openxmlformats.org/officeDocument/2006/relationships/notesSlide" Target="../notesSlides/notesSlide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5" Type="http://schemas.openxmlformats.org/officeDocument/2006/relationships/notesSlide" Target="../notesSlides/notesSlide9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136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5" Type="http://schemas.openxmlformats.org/officeDocument/2006/relationships/tags" Target="../tags/tag138.xml"/><Relationship Id="rId4" Type="http://schemas.openxmlformats.org/officeDocument/2006/relationships/tags" Target="../tags/tag13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142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148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5" Type="http://schemas.openxmlformats.org/officeDocument/2006/relationships/tags" Target="../tags/tag150.xml"/><Relationship Id="rId4" Type="http://schemas.openxmlformats.org/officeDocument/2006/relationships/tags" Target="../tags/tag14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154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tags" Target="../tags/tag157.xml"/><Relationship Id="rId5" Type="http://schemas.openxmlformats.org/officeDocument/2006/relationships/tags" Target="../tags/tag156.xml"/><Relationship Id="rId4" Type="http://schemas.openxmlformats.org/officeDocument/2006/relationships/tags" Target="../tags/tag15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160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4" Type="http://schemas.openxmlformats.org/officeDocument/2006/relationships/tags" Target="../tags/tag16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166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5" Type="http://schemas.openxmlformats.org/officeDocument/2006/relationships/tags" Target="../tags/tag168.xml"/><Relationship Id="rId4" Type="http://schemas.openxmlformats.org/officeDocument/2006/relationships/tags" Target="../tags/tag16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7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13" Type="http://schemas.openxmlformats.org/officeDocument/2006/relationships/tags" Target="../tags/tag188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tags" Target="../tags/tag187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1" Type="http://schemas.openxmlformats.org/officeDocument/2006/relationships/tags" Target="../tags/tag186.xml"/><Relationship Id="rId5" Type="http://schemas.openxmlformats.org/officeDocument/2006/relationships/tags" Target="../tags/tag180.xml"/><Relationship Id="rId15" Type="http://schemas.openxmlformats.org/officeDocument/2006/relationships/chart" Target="../charts/chart6.xml"/><Relationship Id="rId10" Type="http://schemas.openxmlformats.org/officeDocument/2006/relationships/tags" Target="../tags/tag185.xml"/><Relationship Id="rId4" Type="http://schemas.openxmlformats.org/officeDocument/2006/relationships/tags" Target="../tags/tag179.xml"/><Relationship Id="rId9" Type="http://schemas.openxmlformats.org/officeDocument/2006/relationships/tags" Target="../tags/tag184.xml"/><Relationship Id="rId14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13" Type="http://schemas.openxmlformats.org/officeDocument/2006/relationships/tags" Target="../tags/tag201.xml"/><Relationship Id="rId18" Type="http://schemas.openxmlformats.org/officeDocument/2006/relationships/tags" Target="../tags/tag206.xml"/><Relationship Id="rId26" Type="http://schemas.openxmlformats.org/officeDocument/2006/relationships/chart" Target="../charts/chart8.xml"/><Relationship Id="rId3" Type="http://schemas.openxmlformats.org/officeDocument/2006/relationships/tags" Target="../tags/tag191.xml"/><Relationship Id="rId21" Type="http://schemas.openxmlformats.org/officeDocument/2006/relationships/tags" Target="../tags/tag209.xml"/><Relationship Id="rId7" Type="http://schemas.openxmlformats.org/officeDocument/2006/relationships/tags" Target="../tags/tag195.xml"/><Relationship Id="rId12" Type="http://schemas.openxmlformats.org/officeDocument/2006/relationships/tags" Target="../tags/tag200.xml"/><Relationship Id="rId17" Type="http://schemas.openxmlformats.org/officeDocument/2006/relationships/tags" Target="../tags/tag205.xml"/><Relationship Id="rId25" Type="http://schemas.openxmlformats.org/officeDocument/2006/relationships/chart" Target="../charts/chart7.xml"/><Relationship Id="rId2" Type="http://schemas.openxmlformats.org/officeDocument/2006/relationships/tags" Target="../tags/tag190.xml"/><Relationship Id="rId16" Type="http://schemas.openxmlformats.org/officeDocument/2006/relationships/tags" Target="../tags/tag204.xml"/><Relationship Id="rId20" Type="http://schemas.openxmlformats.org/officeDocument/2006/relationships/tags" Target="../tags/tag208.xml"/><Relationship Id="rId29" Type="http://schemas.openxmlformats.org/officeDocument/2006/relationships/chart" Target="../charts/chart11.xml"/><Relationship Id="rId1" Type="http://schemas.openxmlformats.org/officeDocument/2006/relationships/tags" Target="../tags/tag189.xml"/><Relationship Id="rId6" Type="http://schemas.openxmlformats.org/officeDocument/2006/relationships/tags" Target="../tags/tag194.xml"/><Relationship Id="rId11" Type="http://schemas.openxmlformats.org/officeDocument/2006/relationships/tags" Target="../tags/tag199.xml"/><Relationship Id="rId24" Type="http://schemas.openxmlformats.org/officeDocument/2006/relationships/notesSlide" Target="../notesSlides/notesSlide17.xml"/><Relationship Id="rId5" Type="http://schemas.openxmlformats.org/officeDocument/2006/relationships/tags" Target="../tags/tag193.xml"/><Relationship Id="rId15" Type="http://schemas.openxmlformats.org/officeDocument/2006/relationships/tags" Target="../tags/tag203.xml"/><Relationship Id="rId23" Type="http://schemas.openxmlformats.org/officeDocument/2006/relationships/slideLayout" Target="../slideLayouts/slideLayout9.xml"/><Relationship Id="rId28" Type="http://schemas.openxmlformats.org/officeDocument/2006/relationships/chart" Target="../charts/chart10.xml"/><Relationship Id="rId10" Type="http://schemas.openxmlformats.org/officeDocument/2006/relationships/tags" Target="../tags/tag198.xml"/><Relationship Id="rId19" Type="http://schemas.openxmlformats.org/officeDocument/2006/relationships/tags" Target="../tags/tag207.xml"/><Relationship Id="rId4" Type="http://schemas.openxmlformats.org/officeDocument/2006/relationships/tags" Target="../tags/tag192.xml"/><Relationship Id="rId9" Type="http://schemas.openxmlformats.org/officeDocument/2006/relationships/tags" Target="../tags/tag197.xml"/><Relationship Id="rId14" Type="http://schemas.openxmlformats.org/officeDocument/2006/relationships/tags" Target="../tags/tag202.xml"/><Relationship Id="rId22" Type="http://schemas.openxmlformats.org/officeDocument/2006/relationships/tags" Target="../tags/tag210.xml"/><Relationship Id="rId27" Type="http://schemas.openxmlformats.org/officeDocument/2006/relationships/chart" Target="../charts/chart9.xml"/><Relationship Id="rId30" Type="http://schemas.openxmlformats.org/officeDocument/2006/relationships/chart" Target="../charts/chart1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18.xml"/><Relationship Id="rId13" Type="http://schemas.openxmlformats.org/officeDocument/2006/relationships/tags" Target="../tags/tag223.xml"/><Relationship Id="rId18" Type="http://schemas.openxmlformats.org/officeDocument/2006/relationships/tags" Target="../tags/tag228.xml"/><Relationship Id="rId26" Type="http://schemas.openxmlformats.org/officeDocument/2006/relationships/chart" Target="../charts/chart14.xml"/><Relationship Id="rId3" Type="http://schemas.openxmlformats.org/officeDocument/2006/relationships/tags" Target="../tags/tag213.xml"/><Relationship Id="rId21" Type="http://schemas.openxmlformats.org/officeDocument/2006/relationships/tags" Target="../tags/tag231.xml"/><Relationship Id="rId7" Type="http://schemas.openxmlformats.org/officeDocument/2006/relationships/tags" Target="../tags/tag217.xml"/><Relationship Id="rId12" Type="http://schemas.openxmlformats.org/officeDocument/2006/relationships/tags" Target="../tags/tag222.xml"/><Relationship Id="rId17" Type="http://schemas.openxmlformats.org/officeDocument/2006/relationships/tags" Target="../tags/tag227.xml"/><Relationship Id="rId25" Type="http://schemas.openxmlformats.org/officeDocument/2006/relationships/chart" Target="../charts/chart13.xml"/><Relationship Id="rId2" Type="http://schemas.openxmlformats.org/officeDocument/2006/relationships/tags" Target="../tags/tag212.xml"/><Relationship Id="rId16" Type="http://schemas.openxmlformats.org/officeDocument/2006/relationships/tags" Target="../tags/tag226.xml"/><Relationship Id="rId20" Type="http://schemas.openxmlformats.org/officeDocument/2006/relationships/tags" Target="../tags/tag230.xml"/><Relationship Id="rId29" Type="http://schemas.openxmlformats.org/officeDocument/2006/relationships/chart" Target="../charts/chart17.xml"/><Relationship Id="rId1" Type="http://schemas.openxmlformats.org/officeDocument/2006/relationships/tags" Target="../tags/tag211.xml"/><Relationship Id="rId6" Type="http://schemas.openxmlformats.org/officeDocument/2006/relationships/tags" Target="../tags/tag216.xml"/><Relationship Id="rId11" Type="http://schemas.openxmlformats.org/officeDocument/2006/relationships/tags" Target="../tags/tag221.xml"/><Relationship Id="rId24" Type="http://schemas.openxmlformats.org/officeDocument/2006/relationships/notesSlide" Target="../notesSlides/notesSlide18.xml"/><Relationship Id="rId5" Type="http://schemas.openxmlformats.org/officeDocument/2006/relationships/tags" Target="../tags/tag215.xml"/><Relationship Id="rId15" Type="http://schemas.openxmlformats.org/officeDocument/2006/relationships/tags" Target="../tags/tag225.xml"/><Relationship Id="rId23" Type="http://schemas.openxmlformats.org/officeDocument/2006/relationships/slideLayout" Target="../slideLayouts/slideLayout9.xml"/><Relationship Id="rId28" Type="http://schemas.openxmlformats.org/officeDocument/2006/relationships/chart" Target="../charts/chart16.xml"/><Relationship Id="rId10" Type="http://schemas.openxmlformats.org/officeDocument/2006/relationships/tags" Target="../tags/tag220.xml"/><Relationship Id="rId19" Type="http://schemas.openxmlformats.org/officeDocument/2006/relationships/tags" Target="../tags/tag229.xml"/><Relationship Id="rId4" Type="http://schemas.openxmlformats.org/officeDocument/2006/relationships/tags" Target="../tags/tag214.xml"/><Relationship Id="rId9" Type="http://schemas.openxmlformats.org/officeDocument/2006/relationships/tags" Target="../tags/tag219.xml"/><Relationship Id="rId14" Type="http://schemas.openxmlformats.org/officeDocument/2006/relationships/tags" Target="../tags/tag224.xml"/><Relationship Id="rId22" Type="http://schemas.openxmlformats.org/officeDocument/2006/relationships/tags" Target="../tags/tag232.xml"/><Relationship Id="rId27" Type="http://schemas.openxmlformats.org/officeDocument/2006/relationships/chart" Target="../charts/chart15.xml"/><Relationship Id="rId30" Type="http://schemas.openxmlformats.org/officeDocument/2006/relationships/chart" Target="../charts/chart1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13" Type="http://schemas.openxmlformats.org/officeDocument/2006/relationships/tags" Target="../tags/tag245.xml"/><Relationship Id="rId3" Type="http://schemas.openxmlformats.org/officeDocument/2006/relationships/tags" Target="../tags/tag235.xml"/><Relationship Id="rId7" Type="http://schemas.openxmlformats.org/officeDocument/2006/relationships/tags" Target="../tags/tag239.xml"/><Relationship Id="rId12" Type="http://schemas.openxmlformats.org/officeDocument/2006/relationships/tags" Target="../tags/tag244.xml"/><Relationship Id="rId2" Type="http://schemas.openxmlformats.org/officeDocument/2006/relationships/tags" Target="../tags/tag234.xml"/><Relationship Id="rId16" Type="http://schemas.openxmlformats.org/officeDocument/2006/relationships/chart" Target="../charts/chart20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11" Type="http://schemas.openxmlformats.org/officeDocument/2006/relationships/tags" Target="../tags/tag243.xml"/><Relationship Id="rId5" Type="http://schemas.openxmlformats.org/officeDocument/2006/relationships/tags" Target="../tags/tag237.xml"/><Relationship Id="rId15" Type="http://schemas.openxmlformats.org/officeDocument/2006/relationships/chart" Target="../charts/chart19.xml"/><Relationship Id="rId10" Type="http://schemas.openxmlformats.org/officeDocument/2006/relationships/tags" Target="../tags/tag242.xml"/><Relationship Id="rId4" Type="http://schemas.openxmlformats.org/officeDocument/2006/relationships/tags" Target="../tags/tag236.xml"/><Relationship Id="rId9" Type="http://schemas.openxmlformats.org/officeDocument/2006/relationships/tags" Target="../tags/tag241.xml"/><Relationship Id="rId14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53.xml"/><Relationship Id="rId13" Type="http://schemas.openxmlformats.org/officeDocument/2006/relationships/tags" Target="../tags/tag258.xml"/><Relationship Id="rId3" Type="http://schemas.openxmlformats.org/officeDocument/2006/relationships/tags" Target="../tags/tag248.xml"/><Relationship Id="rId7" Type="http://schemas.openxmlformats.org/officeDocument/2006/relationships/tags" Target="../tags/tag252.xml"/><Relationship Id="rId12" Type="http://schemas.openxmlformats.org/officeDocument/2006/relationships/tags" Target="../tags/tag257.xml"/><Relationship Id="rId2" Type="http://schemas.openxmlformats.org/officeDocument/2006/relationships/tags" Target="../tags/tag247.xml"/><Relationship Id="rId16" Type="http://schemas.openxmlformats.org/officeDocument/2006/relationships/chart" Target="../charts/chart22.xml"/><Relationship Id="rId1" Type="http://schemas.openxmlformats.org/officeDocument/2006/relationships/tags" Target="../tags/tag246.xml"/><Relationship Id="rId6" Type="http://schemas.openxmlformats.org/officeDocument/2006/relationships/tags" Target="../tags/tag251.xml"/><Relationship Id="rId11" Type="http://schemas.openxmlformats.org/officeDocument/2006/relationships/tags" Target="../tags/tag256.xml"/><Relationship Id="rId5" Type="http://schemas.openxmlformats.org/officeDocument/2006/relationships/tags" Target="../tags/tag250.xml"/><Relationship Id="rId15" Type="http://schemas.openxmlformats.org/officeDocument/2006/relationships/chart" Target="../charts/chart21.xml"/><Relationship Id="rId10" Type="http://schemas.openxmlformats.org/officeDocument/2006/relationships/tags" Target="../tags/tag255.xml"/><Relationship Id="rId4" Type="http://schemas.openxmlformats.org/officeDocument/2006/relationships/tags" Target="../tags/tag249.xml"/><Relationship Id="rId9" Type="http://schemas.openxmlformats.org/officeDocument/2006/relationships/tags" Target="../tags/tag254.xml"/><Relationship Id="rId14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chart" Target="../charts/chart1.xml"/><Relationship Id="rId5" Type="http://schemas.openxmlformats.org/officeDocument/2006/relationships/tags" Target="../tags/tag10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9.xml"/><Relationship Id="rId9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66.xml"/><Relationship Id="rId13" Type="http://schemas.openxmlformats.org/officeDocument/2006/relationships/tags" Target="../tags/tag271.xml"/><Relationship Id="rId18" Type="http://schemas.openxmlformats.org/officeDocument/2006/relationships/chart" Target="../charts/chart23.xml"/><Relationship Id="rId3" Type="http://schemas.openxmlformats.org/officeDocument/2006/relationships/tags" Target="../tags/tag261.xml"/><Relationship Id="rId7" Type="http://schemas.openxmlformats.org/officeDocument/2006/relationships/tags" Target="../tags/tag265.xml"/><Relationship Id="rId12" Type="http://schemas.openxmlformats.org/officeDocument/2006/relationships/tags" Target="../tags/tag270.xml"/><Relationship Id="rId17" Type="http://schemas.openxmlformats.org/officeDocument/2006/relationships/slideLayout" Target="../slideLayouts/slideLayout27.xml"/><Relationship Id="rId2" Type="http://schemas.openxmlformats.org/officeDocument/2006/relationships/tags" Target="../tags/tag260.xml"/><Relationship Id="rId16" Type="http://schemas.openxmlformats.org/officeDocument/2006/relationships/tags" Target="../tags/tag274.xml"/><Relationship Id="rId1" Type="http://schemas.openxmlformats.org/officeDocument/2006/relationships/tags" Target="../tags/tag259.xml"/><Relationship Id="rId6" Type="http://schemas.openxmlformats.org/officeDocument/2006/relationships/tags" Target="../tags/tag264.xml"/><Relationship Id="rId11" Type="http://schemas.openxmlformats.org/officeDocument/2006/relationships/tags" Target="../tags/tag269.xml"/><Relationship Id="rId5" Type="http://schemas.openxmlformats.org/officeDocument/2006/relationships/tags" Target="../tags/tag263.xml"/><Relationship Id="rId15" Type="http://schemas.openxmlformats.org/officeDocument/2006/relationships/tags" Target="../tags/tag273.xml"/><Relationship Id="rId10" Type="http://schemas.openxmlformats.org/officeDocument/2006/relationships/tags" Target="../tags/tag268.xml"/><Relationship Id="rId19" Type="http://schemas.openxmlformats.org/officeDocument/2006/relationships/chart" Target="../charts/chart24.xml"/><Relationship Id="rId4" Type="http://schemas.openxmlformats.org/officeDocument/2006/relationships/tags" Target="../tags/tag262.xml"/><Relationship Id="rId9" Type="http://schemas.openxmlformats.org/officeDocument/2006/relationships/tags" Target="../tags/tag267.xml"/><Relationship Id="rId14" Type="http://schemas.openxmlformats.org/officeDocument/2006/relationships/tags" Target="../tags/tag27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82.xml"/><Relationship Id="rId13" Type="http://schemas.openxmlformats.org/officeDocument/2006/relationships/tags" Target="../tags/tag287.xml"/><Relationship Id="rId3" Type="http://schemas.openxmlformats.org/officeDocument/2006/relationships/tags" Target="../tags/tag277.xml"/><Relationship Id="rId7" Type="http://schemas.openxmlformats.org/officeDocument/2006/relationships/tags" Target="../tags/tag281.xml"/><Relationship Id="rId12" Type="http://schemas.openxmlformats.org/officeDocument/2006/relationships/tags" Target="../tags/tag286.xml"/><Relationship Id="rId2" Type="http://schemas.openxmlformats.org/officeDocument/2006/relationships/tags" Target="../tags/tag276.xml"/><Relationship Id="rId16" Type="http://schemas.openxmlformats.org/officeDocument/2006/relationships/chart" Target="../charts/chart26.xml"/><Relationship Id="rId1" Type="http://schemas.openxmlformats.org/officeDocument/2006/relationships/tags" Target="../tags/tag275.xml"/><Relationship Id="rId6" Type="http://schemas.openxmlformats.org/officeDocument/2006/relationships/tags" Target="../tags/tag280.xml"/><Relationship Id="rId11" Type="http://schemas.openxmlformats.org/officeDocument/2006/relationships/tags" Target="../tags/tag285.xml"/><Relationship Id="rId5" Type="http://schemas.openxmlformats.org/officeDocument/2006/relationships/tags" Target="../tags/tag279.xml"/><Relationship Id="rId15" Type="http://schemas.openxmlformats.org/officeDocument/2006/relationships/chart" Target="../charts/chart25.xml"/><Relationship Id="rId10" Type="http://schemas.openxmlformats.org/officeDocument/2006/relationships/tags" Target="../tags/tag284.xml"/><Relationship Id="rId4" Type="http://schemas.openxmlformats.org/officeDocument/2006/relationships/tags" Target="../tags/tag278.xml"/><Relationship Id="rId9" Type="http://schemas.openxmlformats.org/officeDocument/2006/relationships/tags" Target="../tags/tag283.xml"/><Relationship Id="rId14" Type="http://schemas.openxmlformats.org/officeDocument/2006/relationships/slideLayout" Target="../slideLayouts/slideLayout27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295.xml"/><Relationship Id="rId13" Type="http://schemas.openxmlformats.org/officeDocument/2006/relationships/tags" Target="../tags/tag300.xml"/><Relationship Id="rId3" Type="http://schemas.openxmlformats.org/officeDocument/2006/relationships/tags" Target="../tags/tag290.xml"/><Relationship Id="rId7" Type="http://schemas.openxmlformats.org/officeDocument/2006/relationships/tags" Target="../tags/tag294.xml"/><Relationship Id="rId12" Type="http://schemas.openxmlformats.org/officeDocument/2006/relationships/tags" Target="../tags/tag299.xml"/><Relationship Id="rId2" Type="http://schemas.openxmlformats.org/officeDocument/2006/relationships/tags" Target="../tags/tag289.xml"/><Relationship Id="rId16" Type="http://schemas.openxmlformats.org/officeDocument/2006/relationships/chart" Target="../charts/chart28.xml"/><Relationship Id="rId1" Type="http://schemas.openxmlformats.org/officeDocument/2006/relationships/tags" Target="../tags/tag288.xml"/><Relationship Id="rId6" Type="http://schemas.openxmlformats.org/officeDocument/2006/relationships/tags" Target="../tags/tag293.xml"/><Relationship Id="rId11" Type="http://schemas.openxmlformats.org/officeDocument/2006/relationships/tags" Target="../tags/tag298.xml"/><Relationship Id="rId5" Type="http://schemas.openxmlformats.org/officeDocument/2006/relationships/tags" Target="../tags/tag292.xml"/><Relationship Id="rId15" Type="http://schemas.openxmlformats.org/officeDocument/2006/relationships/chart" Target="../charts/chart27.xml"/><Relationship Id="rId10" Type="http://schemas.openxmlformats.org/officeDocument/2006/relationships/tags" Target="../tags/tag297.xml"/><Relationship Id="rId4" Type="http://schemas.openxmlformats.org/officeDocument/2006/relationships/tags" Target="../tags/tag291.xml"/><Relationship Id="rId9" Type="http://schemas.openxmlformats.org/officeDocument/2006/relationships/tags" Target="../tags/tag296.xml"/><Relationship Id="rId14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chart" Target="../charts/chart3.xml"/><Relationship Id="rId4" Type="http://schemas.openxmlformats.org/officeDocument/2006/relationships/tags" Target="../tags/tag18.xml"/><Relationship Id="rId9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chart" Target="../charts/chart5.xml"/><Relationship Id="rId5" Type="http://schemas.openxmlformats.org/officeDocument/2006/relationships/tags" Target="../tags/tag25.xml"/><Relationship Id="rId10" Type="http://schemas.openxmlformats.org/officeDocument/2006/relationships/chart" Target="../charts/chart4.xml"/><Relationship Id="rId4" Type="http://schemas.openxmlformats.org/officeDocument/2006/relationships/tags" Target="../tags/tag24.xml"/><Relationship Id="rId9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Souhrnné výsledky testů ze škol</a:t>
            </a:r>
          </a:p>
          <a:p>
            <a:r>
              <a:rPr lang="cs-CZ" sz="4000" i="1" dirty="0"/>
              <a:t>- Průběžné hlášení: 23. 6. 2021- </a:t>
            </a:r>
          </a:p>
        </p:txBody>
      </p:sp>
    </p:spTree>
    <p:extLst>
      <p:ext uri="{BB962C8B-B14F-4D97-AF65-F5344CB8AC3E}">
        <p14:creationId xmlns:p14="http://schemas.microsoft.com/office/powerpoint/2010/main" val="21682295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C59E55-C476-492A-96CC-E18EF895523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6675" y="19052"/>
            <a:ext cx="12125325" cy="576000"/>
          </a:xfrm>
        </p:spPr>
        <p:txBody>
          <a:bodyPr/>
          <a:lstStyle/>
          <a:p>
            <a:pPr algn="ctr"/>
            <a:r>
              <a:rPr lang="cs-CZ" dirty="0"/>
              <a:t>Testy ve školách – průběžné výsledky dle krajů (přepočet na 100tis. testů): ŽÁCI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3740D1DD-A50D-45F9-9BE1-0C9327F0DE5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362121" y="1357937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pozitivních žáků </a:t>
            </a:r>
          </a:p>
          <a:p>
            <a:pPr algn="ctr"/>
            <a:r>
              <a:rPr lang="cs-CZ" sz="1200" dirty="0"/>
              <a:t>na 100 000 testů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6D34076A-ECD6-43D2-B728-44346AB837C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24852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HMP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EA08870A-F9CD-4231-B1E9-E0AA1559AFB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872739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SCK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58DD397-363F-4CDD-90B7-07538C7ADC0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56926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HC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1A4C7DC-9C9C-4FF8-874C-7CD3A9531F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098982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L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D876EDA-77D6-4239-A272-75E57ACB734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205912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VK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173A35FA-14A4-4602-A6DE-371FE0E2A16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362123" y="3558214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pozitivních žáků </a:t>
            </a:r>
          </a:p>
          <a:p>
            <a:pPr algn="ctr"/>
            <a:r>
              <a:rPr lang="cs-CZ" sz="1200" dirty="0"/>
              <a:t>na 100 000 testů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27A4A096-A1F8-4B95-AB0A-E8D49E9EE2D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 rot="16200000">
            <a:off x="-362124" y="5691813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pozitivních žáků </a:t>
            </a:r>
          </a:p>
          <a:p>
            <a:pPr algn="ctr"/>
            <a:r>
              <a:rPr lang="cs-CZ" sz="1200" dirty="0"/>
              <a:t>na 100 000 testů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E08A122B-7B8C-408A-BF61-14C2E9903E2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4852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ULK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48413074-0481-4B1B-87D7-A1C60A1B4DE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872739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LBK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062BCBC7-8CED-42BA-913B-27FDAA8E98D4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956926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HK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1B240316-4F03-4364-AB3A-B1647FD0F8A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098982" y="2766835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AK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95F1A4D7-B6F1-40A6-B28D-29C13D542791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9205912" y="2766835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VYS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A08398CB-0D27-4564-85C4-F80B60787DAA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24852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MK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5A564B04-399B-49EB-B1AC-C24A27A65D5A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2872739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OLK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ABCEF57A-2AFD-4177-88B2-6790A549F4EF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956926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ZLK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1E15864A-B682-410D-92B7-37384580B814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205623" y="4897938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MSK</a:t>
            </a:r>
          </a:p>
        </p:txBody>
      </p:sp>
      <p:sp>
        <p:nvSpPr>
          <p:cNvPr id="5" name="TextovéPole 4"/>
          <p:cNvSpPr txBox="1"/>
          <p:nvPr>
            <p:custDataLst>
              <p:tags r:id="rId19"/>
            </p:custDataLst>
          </p:nvPr>
        </p:nvSpPr>
        <p:spPr>
          <a:xfrm>
            <a:off x="10056998" y="5193170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0B6041A5-B27C-4DD9-BA10-8C1682EF6B5E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35"/>
          <a:stretch>
            <a:fillRect/>
          </a:stretch>
        </p:blipFill>
        <p:spPr>
          <a:xfrm>
            <a:off x="821745" y="997685"/>
            <a:ext cx="2286198" cy="1670449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61E39CCA-4898-4C9D-B52E-17EABE3882DD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36"/>
          <a:stretch>
            <a:fillRect/>
          </a:stretch>
        </p:blipFill>
        <p:spPr>
          <a:xfrm>
            <a:off x="2956344" y="1012929"/>
            <a:ext cx="2286198" cy="1670449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5DF3C639-4967-45C1-9DCA-3EE9506FFEB1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37"/>
          <a:stretch>
            <a:fillRect/>
          </a:stretch>
        </p:blipFill>
        <p:spPr>
          <a:xfrm>
            <a:off x="5242539" y="1034270"/>
            <a:ext cx="2188654" cy="1664352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2327F6BA-19EB-47E9-B90D-945541C3D890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38"/>
          <a:stretch>
            <a:fillRect/>
          </a:stretch>
        </p:blipFill>
        <p:spPr>
          <a:xfrm>
            <a:off x="7377138" y="1026115"/>
            <a:ext cx="2286198" cy="1664352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74B3DFD4-8B2E-4369-A1E1-6709F9681E3E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39"/>
          <a:stretch>
            <a:fillRect/>
          </a:stretch>
        </p:blipFill>
        <p:spPr>
          <a:xfrm>
            <a:off x="9663336" y="1030460"/>
            <a:ext cx="2188654" cy="1670449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AF587840-0D7C-4F0F-8181-357763EBD6F5}"/>
              </a:ext>
            </a:extLst>
          </p:cNvPr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40"/>
          <a:stretch>
            <a:fillRect/>
          </a:stretch>
        </p:blipFill>
        <p:spPr>
          <a:xfrm>
            <a:off x="849414" y="3070767"/>
            <a:ext cx="2286198" cy="1670449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1EB910F2-2CDA-428E-9ACC-9DD17AE26E1E}"/>
              </a:ext>
            </a:extLst>
          </p:cNvPr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41"/>
          <a:stretch>
            <a:fillRect/>
          </a:stretch>
        </p:blipFill>
        <p:spPr>
          <a:xfrm>
            <a:off x="3124037" y="3082239"/>
            <a:ext cx="2188654" cy="1664352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9D810498-1612-4B1C-A2BB-67DDA6537D03}"/>
              </a:ext>
            </a:extLst>
          </p:cNvPr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42"/>
          <a:stretch>
            <a:fillRect/>
          </a:stretch>
        </p:blipFill>
        <p:spPr>
          <a:xfrm>
            <a:off x="5258635" y="3082239"/>
            <a:ext cx="2286198" cy="1664352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513ACBBD-C03A-4F08-BF43-9827B2A21A80}"/>
              </a:ext>
            </a:extLst>
          </p:cNvPr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43"/>
          <a:stretch>
            <a:fillRect/>
          </a:stretch>
        </p:blipFill>
        <p:spPr>
          <a:xfrm>
            <a:off x="7544833" y="3090766"/>
            <a:ext cx="2188654" cy="1670449"/>
          </a:xfrm>
          <a:prstGeom prst="rect">
            <a:avLst/>
          </a:prstGeom>
        </p:spPr>
      </p:pic>
      <p:pic>
        <p:nvPicPr>
          <p:cNvPr id="21" name="Obrázek 20">
            <a:extLst>
              <a:ext uri="{FF2B5EF4-FFF2-40B4-BE49-F238E27FC236}">
                <a16:creationId xmlns:a16="http://schemas.microsoft.com/office/drawing/2014/main" id="{332FC32A-14F3-47CB-9100-F992FD6B8633}"/>
              </a:ext>
            </a:extLst>
          </p:cNvPr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44"/>
          <a:stretch>
            <a:fillRect/>
          </a:stretch>
        </p:blipFill>
        <p:spPr>
          <a:xfrm>
            <a:off x="9686889" y="3070766"/>
            <a:ext cx="2286198" cy="1670449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6E6B61A9-F16E-426E-A4AB-93C42866A305}"/>
              </a:ext>
            </a:extLst>
          </p:cNvPr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45"/>
          <a:stretch>
            <a:fillRect/>
          </a:stretch>
        </p:blipFill>
        <p:spPr>
          <a:xfrm>
            <a:off x="849414" y="5211330"/>
            <a:ext cx="2188654" cy="1664352"/>
          </a:xfrm>
          <a:prstGeom prst="rect">
            <a:avLst/>
          </a:prstGeom>
        </p:spPr>
      </p:pic>
      <p:pic>
        <p:nvPicPr>
          <p:cNvPr id="23" name="Obrázek 22">
            <a:extLst>
              <a:ext uri="{FF2B5EF4-FFF2-40B4-BE49-F238E27FC236}">
                <a16:creationId xmlns:a16="http://schemas.microsoft.com/office/drawing/2014/main" id="{5F4131D7-63D4-45AE-9EF8-F08501B40057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46"/>
          <a:stretch>
            <a:fillRect/>
          </a:stretch>
        </p:blipFill>
        <p:spPr>
          <a:xfrm>
            <a:off x="3023594" y="5229922"/>
            <a:ext cx="2286198" cy="1664352"/>
          </a:xfrm>
          <a:prstGeom prst="rect">
            <a:avLst/>
          </a:prstGeom>
        </p:spPr>
      </p:pic>
      <p:pic>
        <p:nvPicPr>
          <p:cNvPr id="24" name="Obrázek 23">
            <a:extLst>
              <a:ext uri="{FF2B5EF4-FFF2-40B4-BE49-F238E27FC236}">
                <a16:creationId xmlns:a16="http://schemas.microsoft.com/office/drawing/2014/main" id="{51021E1F-7380-44FB-9FE4-20328867C934}"/>
              </a:ext>
            </a:extLst>
          </p:cNvPr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47"/>
          <a:stretch>
            <a:fillRect/>
          </a:stretch>
        </p:blipFill>
        <p:spPr>
          <a:xfrm>
            <a:off x="5304393" y="5219524"/>
            <a:ext cx="2188654" cy="1670449"/>
          </a:xfrm>
          <a:prstGeom prst="rect">
            <a:avLst/>
          </a:prstGeom>
        </p:spPr>
      </p:pic>
      <p:pic>
        <p:nvPicPr>
          <p:cNvPr id="30" name="Obrázek 29">
            <a:extLst>
              <a:ext uri="{FF2B5EF4-FFF2-40B4-BE49-F238E27FC236}">
                <a16:creationId xmlns:a16="http://schemas.microsoft.com/office/drawing/2014/main" id="{8CB8066A-032F-461E-AABF-ACFA287DC5AF}"/>
              </a:ext>
            </a:extLst>
          </p:cNvPr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48"/>
          <a:stretch>
            <a:fillRect/>
          </a:stretch>
        </p:blipFill>
        <p:spPr>
          <a:xfrm>
            <a:off x="7487648" y="5198172"/>
            <a:ext cx="2286198" cy="167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3974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C59E55-C476-492A-96CC-E18EF895523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86515" y="26817"/>
            <a:ext cx="11543560" cy="576000"/>
          </a:xfrm>
        </p:spPr>
        <p:txBody>
          <a:bodyPr/>
          <a:lstStyle/>
          <a:p>
            <a:pPr algn="ctr"/>
            <a:r>
              <a:rPr lang="cs-CZ" dirty="0"/>
              <a:t>Testy ve školách – průběžné výsledky dle krajů (přepočet na 100tis. testů): ZAMĚSTNANCI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E7B7BF9C-A8C5-4F77-B27E-5BD853320F3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71295" y="1329361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</a:t>
            </a:r>
            <a:r>
              <a:rPr lang="cs-CZ" sz="1200" dirty="0" err="1"/>
              <a:t>pozit</a:t>
            </a:r>
            <a:r>
              <a:rPr lang="cs-CZ" sz="1200" dirty="0"/>
              <a:t>. </a:t>
            </a:r>
            <a:r>
              <a:rPr lang="cs-CZ" sz="1200" dirty="0" err="1"/>
              <a:t>zaměstnaců</a:t>
            </a:r>
            <a:r>
              <a:rPr lang="cs-CZ" sz="1200" dirty="0"/>
              <a:t> </a:t>
            </a:r>
          </a:p>
          <a:p>
            <a:r>
              <a:rPr lang="cs-CZ" sz="1200" dirty="0"/>
              <a:t>na 100 000 testů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127B17EE-36F1-4666-86D3-051B7FB7117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24852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HMP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F3577065-92DE-4AD3-AAE1-0A135D1BBF0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815589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SCK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231C5CE-498E-49AF-A82A-C9886886AD5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097982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HC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A2DD5F9-45FE-41FB-A021-BD86799DBF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16126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LK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A75450C0-57EE-4978-ABDE-87834EE795E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531853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VK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CBC49786-37BE-4610-AA3C-ACC6F822C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571297" y="3529638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</a:t>
            </a:r>
            <a:r>
              <a:rPr lang="cs-CZ" sz="1200" dirty="0" err="1"/>
              <a:t>pozit</a:t>
            </a:r>
            <a:r>
              <a:rPr lang="cs-CZ" sz="1200" dirty="0"/>
              <a:t>. </a:t>
            </a:r>
            <a:r>
              <a:rPr lang="cs-CZ" sz="1200" dirty="0" err="1"/>
              <a:t>zaměstnaců</a:t>
            </a:r>
            <a:r>
              <a:rPr lang="cs-CZ" sz="1200" dirty="0"/>
              <a:t> </a:t>
            </a:r>
          </a:p>
          <a:p>
            <a:r>
              <a:rPr lang="cs-CZ" sz="1200" dirty="0"/>
              <a:t>na 100 000 testů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0EA6A183-6D1C-4DDE-9F9B-5B86BDA78FE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 rot="16200000">
            <a:off x="-571298" y="5663237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</a:t>
            </a:r>
            <a:r>
              <a:rPr lang="cs-CZ" sz="1200" dirty="0" err="1"/>
              <a:t>pozit</a:t>
            </a:r>
            <a:r>
              <a:rPr lang="cs-CZ" sz="1200" dirty="0"/>
              <a:t>. </a:t>
            </a:r>
            <a:r>
              <a:rPr lang="cs-CZ" sz="1200" dirty="0" err="1"/>
              <a:t>zaměstnaců</a:t>
            </a:r>
            <a:r>
              <a:rPr lang="cs-CZ" sz="1200" dirty="0"/>
              <a:t> </a:t>
            </a:r>
          </a:p>
          <a:p>
            <a:r>
              <a:rPr lang="cs-CZ" sz="1200" dirty="0"/>
              <a:t>na 100 000 testů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87971F6D-FEF1-419E-B425-FF15CA46767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4852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ULK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A2DBE2BB-85D3-4704-A4A5-E3220D1C3C2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815589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LBK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99C0EE4D-F316-4BAD-B03E-D62778D4997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103691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HK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0F1744-A848-4586-844E-1081D3232AF0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116126" y="27656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A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AE3CB9CF-00ED-45DF-A0B6-0BE17F7F6018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9531853" y="2807434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VYS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909BAF25-CB6F-48CA-91CF-8809AB1F8DB4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24852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MK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A3178B9A-BBF7-4D5C-9D13-F19FDF5D8D31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2815589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OLK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A8923BFE-A086-436F-A617-0727AB0D8A5F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5097982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ZLK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B64ADC04-3CCA-42FF-A4D4-86B50BCD5A19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116126" y="488667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MSK</a:t>
            </a:r>
          </a:p>
        </p:txBody>
      </p:sp>
      <p:sp>
        <p:nvSpPr>
          <p:cNvPr id="34" name="TextovéPole 33"/>
          <p:cNvSpPr txBox="1"/>
          <p:nvPr>
            <p:custDataLst>
              <p:tags r:id="rId19"/>
            </p:custDataLst>
          </p:nvPr>
        </p:nvSpPr>
        <p:spPr>
          <a:xfrm>
            <a:off x="10011433" y="5201571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C11AB956-3992-483B-AD4B-2160DEAFC68A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35"/>
          <a:stretch>
            <a:fillRect/>
          </a:stretch>
        </p:blipFill>
        <p:spPr>
          <a:xfrm>
            <a:off x="563079" y="1041558"/>
            <a:ext cx="2200847" cy="1670449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9DBA70E0-4070-4FA0-A229-0383BD2E376D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36"/>
          <a:stretch>
            <a:fillRect/>
          </a:stretch>
        </p:blipFill>
        <p:spPr>
          <a:xfrm>
            <a:off x="2751733" y="1041558"/>
            <a:ext cx="2225233" cy="1670449"/>
          </a:xfrm>
          <a:prstGeom prst="rect">
            <a:avLst/>
          </a:prstGeom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id="{D8D0965E-F636-4AC5-B080-DFEAF7F29726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37"/>
          <a:stretch>
            <a:fillRect/>
          </a:stretch>
        </p:blipFill>
        <p:spPr>
          <a:xfrm>
            <a:off x="4976966" y="1035249"/>
            <a:ext cx="2200847" cy="1664352"/>
          </a:xfrm>
          <a:prstGeom prst="rect">
            <a:avLst/>
          </a:prstGeom>
        </p:spPr>
      </p:pic>
      <p:pic>
        <p:nvPicPr>
          <p:cNvPr id="23" name="Obrázek 22">
            <a:extLst>
              <a:ext uri="{FF2B5EF4-FFF2-40B4-BE49-F238E27FC236}">
                <a16:creationId xmlns:a16="http://schemas.microsoft.com/office/drawing/2014/main" id="{69AF7457-B43B-4F95-AF3E-F8FF440BCE33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38"/>
          <a:stretch>
            <a:fillRect/>
          </a:stretch>
        </p:blipFill>
        <p:spPr>
          <a:xfrm>
            <a:off x="7165620" y="1048472"/>
            <a:ext cx="2225233" cy="1664352"/>
          </a:xfrm>
          <a:prstGeom prst="rect">
            <a:avLst/>
          </a:prstGeom>
        </p:spPr>
      </p:pic>
      <p:pic>
        <p:nvPicPr>
          <p:cNvPr id="24" name="Obrázek 23">
            <a:extLst>
              <a:ext uri="{FF2B5EF4-FFF2-40B4-BE49-F238E27FC236}">
                <a16:creationId xmlns:a16="http://schemas.microsoft.com/office/drawing/2014/main" id="{F67A2A31-C541-4F59-AF88-1A4DD5278242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39"/>
          <a:stretch>
            <a:fillRect/>
          </a:stretch>
        </p:blipFill>
        <p:spPr>
          <a:xfrm>
            <a:off x="9378660" y="1067812"/>
            <a:ext cx="2200847" cy="1670449"/>
          </a:xfrm>
          <a:prstGeom prst="rect">
            <a:avLst/>
          </a:prstGeom>
        </p:spPr>
      </p:pic>
      <p:pic>
        <p:nvPicPr>
          <p:cNvPr id="25" name="Obrázek 24">
            <a:extLst>
              <a:ext uri="{FF2B5EF4-FFF2-40B4-BE49-F238E27FC236}">
                <a16:creationId xmlns:a16="http://schemas.microsoft.com/office/drawing/2014/main" id="{6D214F4F-F58F-4133-99BA-46E14F9B883D}"/>
              </a:ext>
            </a:extLst>
          </p:cNvPr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40"/>
          <a:stretch>
            <a:fillRect/>
          </a:stretch>
        </p:blipFill>
        <p:spPr>
          <a:xfrm>
            <a:off x="590356" y="3138485"/>
            <a:ext cx="2225233" cy="1670449"/>
          </a:xfrm>
          <a:prstGeom prst="rect">
            <a:avLst/>
          </a:prstGeom>
        </p:spPr>
      </p:pic>
      <p:pic>
        <p:nvPicPr>
          <p:cNvPr id="26" name="Obrázek 25">
            <a:extLst>
              <a:ext uri="{FF2B5EF4-FFF2-40B4-BE49-F238E27FC236}">
                <a16:creationId xmlns:a16="http://schemas.microsoft.com/office/drawing/2014/main" id="{04263468-0601-4761-B424-382A15FDABA2}"/>
              </a:ext>
            </a:extLst>
          </p:cNvPr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41"/>
          <a:stretch>
            <a:fillRect/>
          </a:stretch>
        </p:blipFill>
        <p:spPr>
          <a:xfrm>
            <a:off x="2788452" y="3141533"/>
            <a:ext cx="2200847" cy="1664352"/>
          </a:xfrm>
          <a:prstGeom prst="rect">
            <a:avLst/>
          </a:prstGeom>
        </p:spPr>
      </p:pic>
      <p:pic>
        <p:nvPicPr>
          <p:cNvPr id="27" name="Obrázek 26">
            <a:extLst>
              <a:ext uri="{FF2B5EF4-FFF2-40B4-BE49-F238E27FC236}">
                <a16:creationId xmlns:a16="http://schemas.microsoft.com/office/drawing/2014/main" id="{313DFA1D-1CDD-45DB-91BE-6C7C0E20F707}"/>
              </a:ext>
            </a:extLst>
          </p:cNvPr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42"/>
          <a:stretch>
            <a:fillRect/>
          </a:stretch>
        </p:blipFill>
        <p:spPr>
          <a:xfrm>
            <a:off x="4983383" y="3156296"/>
            <a:ext cx="2225233" cy="1664352"/>
          </a:xfrm>
          <a:prstGeom prst="rect">
            <a:avLst/>
          </a:prstGeom>
        </p:spPr>
      </p:pic>
      <p:pic>
        <p:nvPicPr>
          <p:cNvPr id="28" name="Obrázek 27">
            <a:extLst>
              <a:ext uri="{FF2B5EF4-FFF2-40B4-BE49-F238E27FC236}">
                <a16:creationId xmlns:a16="http://schemas.microsoft.com/office/drawing/2014/main" id="{A5CE923F-1C86-469A-AF75-D3A898CE8E62}"/>
              </a:ext>
            </a:extLst>
          </p:cNvPr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43"/>
          <a:stretch>
            <a:fillRect/>
          </a:stretch>
        </p:blipFill>
        <p:spPr>
          <a:xfrm>
            <a:off x="7204725" y="3150199"/>
            <a:ext cx="2200847" cy="1670449"/>
          </a:xfrm>
          <a:prstGeom prst="rect">
            <a:avLst/>
          </a:prstGeom>
        </p:spPr>
      </p:pic>
      <p:pic>
        <p:nvPicPr>
          <p:cNvPr id="29" name="Obrázek 28">
            <a:extLst>
              <a:ext uri="{FF2B5EF4-FFF2-40B4-BE49-F238E27FC236}">
                <a16:creationId xmlns:a16="http://schemas.microsoft.com/office/drawing/2014/main" id="{60A07A24-0562-4754-920E-05A664D0B9D3}"/>
              </a:ext>
            </a:extLst>
          </p:cNvPr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44"/>
          <a:stretch>
            <a:fillRect/>
          </a:stretch>
        </p:blipFill>
        <p:spPr>
          <a:xfrm>
            <a:off x="9376411" y="3175636"/>
            <a:ext cx="2225233" cy="1670449"/>
          </a:xfrm>
          <a:prstGeom prst="rect">
            <a:avLst/>
          </a:prstGeom>
        </p:spPr>
      </p:pic>
      <p:pic>
        <p:nvPicPr>
          <p:cNvPr id="30" name="Obrázek 29">
            <a:extLst>
              <a:ext uri="{FF2B5EF4-FFF2-40B4-BE49-F238E27FC236}">
                <a16:creationId xmlns:a16="http://schemas.microsoft.com/office/drawing/2014/main" id="{8599AED3-EBF3-4220-976E-B7394595CC23}"/>
              </a:ext>
            </a:extLst>
          </p:cNvPr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45"/>
          <a:stretch>
            <a:fillRect/>
          </a:stretch>
        </p:blipFill>
        <p:spPr>
          <a:xfrm>
            <a:off x="614742" y="5201571"/>
            <a:ext cx="2200847" cy="1664352"/>
          </a:xfrm>
          <a:prstGeom prst="rect">
            <a:avLst/>
          </a:prstGeom>
        </p:spPr>
      </p:pic>
      <p:pic>
        <p:nvPicPr>
          <p:cNvPr id="31" name="Obrázek 30">
            <a:extLst>
              <a:ext uri="{FF2B5EF4-FFF2-40B4-BE49-F238E27FC236}">
                <a16:creationId xmlns:a16="http://schemas.microsoft.com/office/drawing/2014/main" id="{8588F0EE-3607-4B21-B1E9-B35900787048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46"/>
          <a:stretch>
            <a:fillRect/>
          </a:stretch>
        </p:blipFill>
        <p:spPr>
          <a:xfrm>
            <a:off x="2783998" y="5201892"/>
            <a:ext cx="2225233" cy="1664352"/>
          </a:xfrm>
          <a:prstGeom prst="rect">
            <a:avLst/>
          </a:prstGeom>
        </p:spPr>
      </p:pic>
      <p:pic>
        <p:nvPicPr>
          <p:cNvPr id="35" name="Obrázek 34">
            <a:extLst>
              <a:ext uri="{FF2B5EF4-FFF2-40B4-BE49-F238E27FC236}">
                <a16:creationId xmlns:a16="http://schemas.microsoft.com/office/drawing/2014/main" id="{AC009432-1F16-41B5-9C97-269BAEFE4349}"/>
              </a:ext>
            </a:extLst>
          </p:cNvPr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47"/>
          <a:stretch>
            <a:fillRect/>
          </a:stretch>
        </p:blipFill>
        <p:spPr>
          <a:xfrm>
            <a:off x="4995575" y="5211765"/>
            <a:ext cx="2200847" cy="1670449"/>
          </a:xfrm>
          <a:prstGeom prst="rect">
            <a:avLst/>
          </a:prstGeom>
        </p:spPr>
      </p:pic>
      <p:pic>
        <p:nvPicPr>
          <p:cNvPr id="36" name="Obrázek 35">
            <a:extLst>
              <a:ext uri="{FF2B5EF4-FFF2-40B4-BE49-F238E27FC236}">
                <a16:creationId xmlns:a16="http://schemas.microsoft.com/office/drawing/2014/main" id="{087D0F50-832A-4952-90C5-250C6068C47A}"/>
              </a:ext>
            </a:extLst>
          </p:cNvPr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48"/>
          <a:stretch>
            <a:fillRect/>
          </a:stretch>
        </p:blipFill>
        <p:spPr>
          <a:xfrm>
            <a:off x="7192531" y="5211764"/>
            <a:ext cx="2225233" cy="167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3770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souhrnné hodnocení 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3825" y="747481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23. 6. 2021 18:00</a:t>
            </a:r>
            <a:endParaRPr lang="cs-CZ" sz="1400" i="1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8E40EDBC-756B-45F8-84B9-3427EA067CA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70284" y="6550223"/>
            <a:ext cx="11584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Výsledky všech testů v rámci testování ve školách bez ohledu na věk žáka.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5209200" y="664068"/>
            <a:ext cx="68780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Podkladem pro tabulku jsou agregované výsledky testů hlášené přímo ze škol. </a:t>
            </a:r>
          </a:p>
          <a:p>
            <a:pPr algn="r"/>
            <a:r>
              <a:rPr lang="cs-CZ" sz="1400" i="1" dirty="0"/>
              <a:t>Jde tedy o průběžná data bez následných konfirmací. 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F1B2813A-2CA1-4F5B-B64B-BCC96580771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64194989"/>
              </p:ext>
            </p:extLst>
          </p:nvPr>
        </p:nvGraphicFramePr>
        <p:xfrm>
          <a:off x="263825" y="1187288"/>
          <a:ext cx="11657891" cy="5274830"/>
        </p:xfrm>
        <a:graphic>
          <a:graphicData uri="http://schemas.openxmlformats.org/drawingml/2006/table">
            <a:tbl>
              <a:tblPr/>
              <a:tblGrid>
                <a:gridCol w="1434913">
                  <a:extLst>
                    <a:ext uri="{9D8B030D-6E8A-4147-A177-3AD203B41FA5}">
                      <a16:colId xmlns:a16="http://schemas.microsoft.com/office/drawing/2014/main" val="661560722"/>
                    </a:ext>
                  </a:extLst>
                </a:gridCol>
                <a:gridCol w="1649506">
                  <a:extLst>
                    <a:ext uri="{9D8B030D-6E8A-4147-A177-3AD203B41FA5}">
                      <a16:colId xmlns:a16="http://schemas.microsoft.com/office/drawing/2014/main" val="2506814337"/>
                    </a:ext>
                  </a:extLst>
                </a:gridCol>
                <a:gridCol w="1461247">
                  <a:extLst>
                    <a:ext uri="{9D8B030D-6E8A-4147-A177-3AD203B41FA5}">
                      <a16:colId xmlns:a16="http://schemas.microsoft.com/office/drawing/2014/main" val="215986214"/>
                    </a:ext>
                  </a:extLst>
                </a:gridCol>
                <a:gridCol w="1756853">
                  <a:extLst>
                    <a:ext uri="{9D8B030D-6E8A-4147-A177-3AD203B41FA5}">
                      <a16:colId xmlns:a16="http://schemas.microsoft.com/office/drawing/2014/main" val="571367351"/>
                    </a:ext>
                  </a:extLst>
                </a:gridCol>
                <a:gridCol w="1575630">
                  <a:extLst>
                    <a:ext uri="{9D8B030D-6E8A-4147-A177-3AD203B41FA5}">
                      <a16:colId xmlns:a16="http://schemas.microsoft.com/office/drawing/2014/main" val="361299477"/>
                    </a:ext>
                  </a:extLst>
                </a:gridCol>
                <a:gridCol w="1611037">
                  <a:extLst>
                    <a:ext uri="{9D8B030D-6E8A-4147-A177-3AD203B41FA5}">
                      <a16:colId xmlns:a16="http://schemas.microsoft.com/office/drawing/2014/main" val="604021784"/>
                    </a:ext>
                  </a:extLst>
                </a:gridCol>
                <a:gridCol w="1847659">
                  <a:extLst>
                    <a:ext uri="{9D8B030D-6E8A-4147-A177-3AD203B41FA5}">
                      <a16:colId xmlns:a16="http://schemas.microsoft.com/office/drawing/2014/main" val="3985373225"/>
                    </a:ext>
                  </a:extLst>
                </a:gridCol>
                <a:gridCol w="321046">
                  <a:extLst>
                    <a:ext uri="{9D8B030D-6E8A-4147-A177-3AD203B41FA5}">
                      <a16:colId xmlns:a16="http://schemas.microsoft.com/office/drawing/2014/main" val="2540171068"/>
                    </a:ext>
                  </a:extLst>
                </a:gridCol>
              </a:tblGrid>
              <a:tr h="407006">
                <a:tc rowSpan="2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effectLst/>
                        </a:rPr>
                        <a:t>Hodnocený týden </a:t>
                      </a:r>
                    </a:p>
                  </a:txBody>
                  <a:tcPr marL="44450" marR="4445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Žáci*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aměstnanci 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5382023"/>
                  </a:ext>
                </a:extLst>
              </a:tr>
              <a:tr h="779037">
                <a:tc vMerge="1">
                  <a:txBody>
                    <a:bodyPr/>
                    <a:lstStyle/>
                    <a:p>
                      <a:pPr algn="ctr"/>
                      <a:endParaRPr lang="cs-CZ" dirty="0">
                        <a:effectLst/>
                      </a:endParaRPr>
                    </a:p>
                  </a:txBody>
                  <a:tcPr marL="44450" marR="4445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v % provede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na 100tis.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% neprůkaz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v % provede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na 100tis.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</a:p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neprůkaz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4668919"/>
                  </a:ext>
                </a:extLst>
              </a:tr>
              <a:tr h="52837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1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 – 16.5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2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8919800"/>
                  </a:ext>
                </a:extLst>
              </a:tr>
              <a:tr h="52837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2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 – 23.5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906264"/>
                  </a:ext>
                </a:extLst>
              </a:tr>
              <a:tr h="52837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3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 – 30.5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8076232"/>
                  </a:ext>
                </a:extLst>
              </a:tr>
              <a:tr h="52837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3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 – 6.6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5249894"/>
                  </a:ext>
                </a:extLst>
              </a:tr>
              <a:tr h="52837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5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 – 13.6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8433359"/>
                  </a:ext>
                </a:extLst>
              </a:tr>
              <a:tr h="52837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6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 – 20.6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7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7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490130"/>
                  </a:ext>
                </a:extLst>
              </a:tr>
              <a:tr h="52837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 – 22.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6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9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i="1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0614454"/>
                  </a:ext>
                </a:extLst>
              </a:tr>
              <a:tr h="34623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2475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48156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769310"/>
            <a:ext cx="11905307" cy="1802816"/>
          </a:xfrm>
        </p:spPr>
        <p:txBody>
          <a:bodyPr>
            <a:normAutofit/>
          </a:bodyPr>
          <a:lstStyle/>
          <a:p>
            <a:r>
              <a:rPr lang="cs-CZ" sz="4000" b="1" dirty="0"/>
              <a:t>Výsledky testů ze škol v relaci s celkovými populačními záchyty nemoci u dětí </a:t>
            </a:r>
            <a:endParaRPr lang="cs-CZ" sz="4000" i="1" dirty="0"/>
          </a:p>
        </p:txBody>
      </p:sp>
    </p:spTree>
    <p:extLst>
      <p:ext uri="{BB962C8B-B14F-4D97-AF65-F5344CB8AC3E}">
        <p14:creationId xmlns:p14="http://schemas.microsoft.com/office/powerpoint/2010/main" val="20139233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14300" y="412883"/>
            <a:ext cx="11820525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Všechny pozitivně potvrzené případy jsou šetřeny epidemiology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 na KHS. Tato šetření umožňují odlišit děti pravděpodobně nakažené v souvislosti se školní docházkou. U dětí ve věku 5 – 11 let, které jsou ve škole nejdéle, prokázalo epidemické šetření KHS u 30</a:t>
            </a:r>
            <a:r>
              <a:rPr lang="cs-CZ" sz="2800" b="1" dirty="0">
                <a:cs typeface="Arial" panose="020B0604020202020204" pitchFamily="34" charset="0"/>
              </a:rPr>
              <a:t> % ze všech zachycených nákaz souvislost se školou. Dále tento podíl nákaz souvisejících se školou klesá k 20 % (věková kategorie 12 – 15 let) a k 4 % (věková kategorie 16 – 19 let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dirty="0"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dirty="0"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cs-CZ" sz="2800" b="1" dirty="0">
                <a:solidFill>
                  <a:srgbClr val="C00000"/>
                </a:solidFill>
                <a:cs typeface="Arial" panose="020B0604020202020204" pitchFamily="34" charset="0"/>
              </a:rPr>
              <a:t>Zvýšené záchyty ve více krajích (nejvíce v Kraji Vysočina) se zatím promítly pouze do mírně navýšeného počtu pozitivních žáků zachycených na 100tis. AG testů (celorepublikově jde o nárůst z počtu 36 záchytů na 100 tis. testů na hodnotu 43). Situace bude dále denně sledována. Šetření KHS zatím nenavyšují počet nákaz žáků a studentů souvisejících se školní docházkou. </a:t>
            </a:r>
            <a:endParaRPr lang="cs-CZ" sz="28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41176" y="328779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41175" y="620675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12585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hlášení ze škol – průběžné výsledky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* CELKOVÝ SOUHRN V DATECH</a:t>
            </a:r>
            <a:r>
              <a:rPr kumimoji="0" lang="cs-CZ" sz="1600" i="1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 </a:t>
            </a:r>
            <a:r>
              <a:rPr lang="cs-CZ" sz="1600" i="1" dirty="0">
                <a:solidFill>
                  <a:srgbClr val="000000"/>
                </a:solidFill>
                <a:latin typeface="Arial" panose="020B0604020202020204"/>
              </a:rPr>
              <a:t>(bez dělení na </a:t>
            </a:r>
            <a:r>
              <a:rPr lang="cs-CZ" sz="1600" i="1" dirty="0">
                <a:latin typeface="Arial" panose="020B0604020202020204"/>
              </a:rPr>
              <a:t>věkové kategorie žáků, které nejsou v datech testování ve školách k dispozici)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</a:p>
        </p:txBody>
      </p:sp>
      <p:sp>
        <p:nvSpPr>
          <p:cNvPr id="6" name="TextovéPole 5"/>
          <p:cNvSpPr txBox="1"/>
          <p:nvPr>
            <p:custDataLst>
              <p:tags r:id="rId3"/>
            </p:custDataLst>
          </p:nvPr>
        </p:nvSpPr>
        <p:spPr>
          <a:xfrm>
            <a:off x="4455775" y="3156370"/>
            <a:ext cx="2221250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9 993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4 289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ů</a:t>
            </a:r>
          </a:p>
        </p:txBody>
      </p:sp>
      <p:sp>
        <p:nvSpPr>
          <p:cNvPr id="8" name="Šipka doprava 7"/>
          <p:cNvSpPr/>
          <p:nvPr/>
        </p:nvSpPr>
        <p:spPr>
          <a:xfrm>
            <a:off x="7150615" y="3324401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>
            <p:custDataLst>
              <p:tags r:id="rId4"/>
            </p:custDataLst>
          </p:nvPr>
        </p:nvSpPr>
        <p:spPr>
          <a:xfrm>
            <a:off x="8286750" y="3158610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43</a:t>
            </a: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záchytů na 100tis. testů</a:t>
            </a:r>
          </a:p>
        </p:txBody>
      </p:sp>
      <p:sp>
        <p:nvSpPr>
          <p:cNvPr id="10" name="TextovéPole 9"/>
          <p:cNvSpPr txBox="1"/>
          <p:nvPr>
            <p:custDataLst>
              <p:tags r:id="rId5"/>
            </p:custDataLst>
          </p:nvPr>
        </p:nvSpPr>
        <p:spPr>
          <a:xfrm>
            <a:off x="456172" y="3275726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Ž</a:t>
            </a:r>
            <a:r>
              <a:rPr kumimoji="0" lang="cs-CZ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ci</a:t>
            </a:r>
            <a:r>
              <a:rPr kumimoji="0" lang="cs-CZ" sz="32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* 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ovéPole 10"/>
          <p:cNvSpPr txBox="1"/>
          <p:nvPr>
            <p:custDataLst>
              <p:tags r:id="rId6"/>
            </p:custDataLst>
          </p:nvPr>
        </p:nvSpPr>
        <p:spPr>
          <a:xfrm>
            <a:off x="4417674" y="1170788"/>
            <a:ext cx="2160227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640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647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ů</a:t>
            </a:r>
          </a:p>
        </p:txBody>
      </p:sp>
      <p:sp>
        <p:nvSpPr>
          <p:cNvPr id="12" name="Šipka doprava 11"/>
          <p:cNvSpPr/>
          <p:nvPr/>
        </p:nvSpPr>
        <p:spPr>
          <a:xfrm>
            <a:off x="7172504" y="1407712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7"/>
            </p:custDataLst>
          </p:nvPr>
        </p:nvSpPr>
        <p:spPr>
          <a:xfrm>
            <a:off x="8286749" y="1226505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9</a:t>
            </a: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456172" y="1367895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městnanci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0" y="648748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23. 6. 2021 18:00</a:t>
            </a:r>
            <a:endParaRPr lang="cs-CZ" sz="1400" i="1" dirty="0"/>
          </a:p>
        </p:txBody>
      </p:sp>
      <p:sp>
        <p:nvSpPr>
          <p:cNvPr id="15" name="TextovéPole 14"/>
          <p:cNvSpPr txBox="1"/>
          <p:nvPr>
            <p:custDataLst>
              <p:tags r:id="rId9"/>
            </p:custDataLst>
          </p:nvPr>
        </p:nvSpPr>
        <p:spPr>
          <a:xfrm>
            <a:off x="292231" y="4849009"/>
            <a:ext cx="3182928" cy="135421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</a:t>
            </a:r>
            <a:br>
              <a:rPr lang="cs-CZ" sz="2000" dirty="0">
                <a:solidFill>
                  <a:schemeClr val="bg1"/>
                </a:solidFill>
              </a:rPr>
            </a:br>
            <a:r>
              <a:rPr lang="cs-CZ" sz="2000" b="1" dirty="0">
                <a:solidFill>
                  <a:srgbClr val="FFFFFF"/>
                </a:solidFill>
                <a:latin typeface="Arial" panose="020B0604020202020204" pitchFamily="34" charset="0"/>
              </a:rPr>
              <a:t>11 279 </a:t>
            </a:r>
            <a:r>
              <a:rPr lang="cs-CZ" sz="2000" dirty="0">
                <a:solidFill>
                  <a:schemeClr val="bg1"/>
                </a:solidFill>
              </a:rPr>
              <a:t>nákaz u dětí </a:t>
            </a:r>
          </a:p>
          <a:p>
            <a:r>
              <a:rPr lang="cs-CZ" sz="2000" dirty="0">
                <a:solidFill>
                  <a:schemeClr val="bg1"/>
                </a:solidFill>
              </a:rPr>
              <a:t>(5 – 15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6" name="TextovéPole 15"/>
          <p:cNvSpPr txBox="1"/>
          <p:nvPr>
            <p:custDataLst>
              <p:tags r:id="rId10"/>
            </p:custDataLst>
          </p:nvPr>
        </p:nvSpPr>
        <p:spPr>
          <a:xfrm>
            <a:off x="8964951" y="4973578"/>
            <a:ext cx="3210419" cy="110799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200" dirty="0"/>
              <a:t>Testy provedené přímo ve školách potvrdily </a:t>
            </a:r>
          </a:p>
          <a:p>
            <a:r>
              <a:rPr lang="cs-CZ" sz="2200" b="1" dirty="0"/>
              <a:t>4 289 </a:t>
            </a:r>
            <a:r>
              <a:rPr lang="cs-CZ" sz="2200" dirty="0"/>
              <a:t>záchytů nákazy</a:t>
            </a:r>
          </a:p>
        </p:txBody>
      </p:sp>
      <p:sp>
        <p:nvSpPr>
          <p:cNvPr id="17" name="TextovéPole 16"/>
          <p:cNvSpPr txBox="1"/>
          <p:nvPr>
            <p:custDataLst>
              <p:tags r:id="rId11"/>
            </p:custDataLst>
          </p:nvPr>
        </p:nvSpPr>
        <p:spPr>
          <a:xfrm>
            <a:off x="4196094" y="4573164"/>
            <a:ext cx="4330707" cy="178510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200" dirty="0"/>
              <a:t>Epidemická šetření všech záznamů v </a:t>
            </a:r>
            <a:r>
              <a:rPr lang="cs-CZ" sz="2200" b="1" dirty="0"/>
              <a:t>ISIN</a:t>
            </a:r>
            <a:r>
              <a:rPr lang="cs-CZ" sz="2200" dirty="0"/>
              <a:t> prokázala </a:t>
            </a:r>
          </a:p>
          <a:p>
            <a:r>
              <a:rPr lang="cs-CZ" sz="2200" b="1" dirty="0"/>
              <a:t>2 996 </a:t>
            </a:r>
            <a:r>
              <a:rPr lang="cs-CZ" sz="2200" dirty="0"/>
              <a:t>nákaz dětí ve věku 5 – 15 let pravděpodobně souvisejících se školním kolektivem </a:t>
            </a:r>
          </a:p>
        </p:txBody>
      </p:sp>
      <p:cxnSp>
        <p:nvCxnSpPr>
          <p:cNvPr id="4" name="Přímá spojnice 3"/>
          <p:cNvCxnSpPr/>
          <p:nvPr/>
        </p:nvCxnSpPr>
        <p:spPr>
          <a:xfrm flipV="1">
            <a:off x="0" y="2505075"/>
            <a:ext cx="12192000" cy="285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Šipka doprava 4"/>
          <p:cNvSpPr/>
          <p:nvPr/>
        </p:nvSpPr>
        <p:spPr>
          <a:xfrm>
            <a:off x="3746873" y="321187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" name="Šipka doprava 20"/>
          <p:cNvSpPr/>
          <p:nvPr/>
        </p:nvSpPr>
        <p:spPr>
          <a:xfrm>
            <a:off x="3475159" y="1210900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3" name="Šipka doprava 22"/>
          <p:cNvSpPr/>
          <p:nvPr/>
        </p:nvSpPr>
        <p:spPr>
          <a:xfrm>
            <a:off x="3746873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5" name="Šipka doprava 24"/>
          <p:cNvSpPr/>
          <p:nvPr/>
        </p:nvSpPr>
        <p:spPr>
          <a:xfrm rot="10800000">
            <a:off x="8583951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TextovéPole 23"/>
          <p:cNvSpPr txBox="1"/>
          <p:nvPr/>
        </p:nvSpPr>
        <p:spPr>
          <a:xfrm>
            <a:off x="3649937" y="782752"/>
            <a:ext cx="3695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Testy ve školách </a:t>
            </a:r>
          </a:p>
        </p:txBody>
      </p:sp>
      <p:sp>
        <p:nvSpPr>
          <p:cNvPr id="26" name="TextovéPole 25"/>
          <p:cNvSpPr txBox="1"/>
          <p:nvPr/>
        </p:nvSpPr>
        <p:spPr>
          <a:xfrm>
            <a:off x="1659867" y="2046941"/>
            <a:ext cx="78697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imární záchyty nahlášené do CFA bez konfirmace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3649937" y="2737924"/>
            <a:ext cx="3695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Testy ve školách </a:t>
            </a:r>
          </a:p>
        </p:txBody>
      </p:sp>
      <p:sp>
        <p:nvSpPr>
          <p:cNvPr id="28" name="TextovéPole 27"/>
          <p:cNvSpPr txBox="1"/>
          <p:nvPr>
            <p:custDataLst>
              <p:tags r:id="rId12"/>
            </p:custDataLst>
          </p:nvPr>
        </p:nvSpPr>
        <p:spPr>
          <a:xfrm>
            <a:off x="1659867" y="4002113"/>
            <a:ext cx="78697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imární záchyty nahlášené do CFA bez konfirmace</a:t>
            </a:r>
          </a:p>
        </p:txBody>
      </p:sp>
      <p:sp>
        <p:nvSpPr>
          <p:cNvPr id="7" name="Ohnutá šipka 6"/>
          <p:cNvSpPr/>
          <p:nvPr/>
        </p:nvSpPr>
        <p:spPr>
          <a:xfrm rot="5400000">
            <a:off x="10300716" y="3727154"/>
            <a:ext cx="1318308" cy="779421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0632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Populační záchyty nákazy u dětí různých věkových kategorií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* CELKOVÝ 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SOUHRN V DATECH</a:t>
            </a:r>
            <a:r>
              <a:rPr kumimoji="0" lang="cs-CZ" sz="1600" i="1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  <a:r>
              <a:rPr lang="cs-CZ" sz="1600" i="1" dirty="0">
                <a:latin typeface="Arial" panose="020B0604020202020204"/>
              </a:rPr>
              <a:t>(bez dělení na věkové kategorie žáků, které nejsou v datech testování ve školách k dispozici)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</a:p>
        </p:txBody>
      </p:sp>
      <p:sp>
        <p:nvSpPr>
          <p:cNvPr id="10" name="TextovéPole 9"/>
          <p:cNvSpPr txBox="1"/>
          <p:nvPr>
            <p:custDataLst>
              <p:tags r:id="rId3"/>
            </p:custDataLst>
          </p:nvPr>
        </p:nvSpPr>
        <p:spPr>
          <a:xfrm>
            <a:off x="224157" y="1009108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5 – 11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0" y="648748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23. 6. 2021 18:00</a:t>
            </a:r>
            <a:endParaRPr lang="cs-CZ" sz="1400" i="1" dirty="0"/>
          </a:p>
        </p:txBody>
      </p:sp>
      <p:sp>
        <p:nvSpPr>
          <p:cNvPr id="15" name="TextovéPole 14"/>
          <p:cNvSpPr txBox="1"/>
          <p:nvPr>
            <p:custDataLst>
              <p:tags r:id="rId5"/>
            </p:custDataLst>
          </p:nvPr>
        </p:nvSpPr>
        <p:spPr>
          <a:xfrm>
            <a:off x="292231" y="1543834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rgbClr val="FFFFFF"/>
                </a:solidFill>
                <a:latin typeface="Arial" panose="020B0604020202020204" pitchFamily="34" charset="0"/>
              </a:rPr>
              <a:t>6 986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5 – 11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7" name="TextovéPole 16"/>
          <p:cNvSpPr txBox="1"/>
          <p:nvPr>
            <p:custDataLst>
              <p:tags r:id="rId6"/>
            </p:custDataLst>
          </p:nvPr>
        </p:nvSpPr>
        <p:spPr>
          <a:xfrm>
            <a:off x="5289543" y="1402633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2 123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30 % celku)</a:t>
            </a:r>
          </a:p>
        </p:txBody>
      </p:sp>
      <p:sp>
        <p:nvSpPr>
          <p:cNvPr id="23" name="Šipka doprava 22"/>
          <p:cNvSpPr/>
          <p:nvPr/>
        </p:nvSpPr>
        <p:spPr>
          <a:xfrm>
            <a:off x="4794623" y="171243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7" name="TextovéPole 26"/>
          <p:cNvSpPr txBox="1"/>
          <p:nvPr>
            <p:custDataLst>
              <p:tags r:id="rId7"/>
            </p:custDataLst>
          </p:nvPr>
        </p:nvSpPr>
        <p:spPr>
          <a:xfrm>
            <a:off x="224157" y="2725899"/>
            <a:ext cx="3271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12 – 15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ovéPole 27"/>
          <p:cNvSpPr txBox="1"/>
          <p:nvPr>
            <p:custDataLst>
              <p:tags r:id="rId8"/>
            </p:custDataLst>
          </p:nvPr>
        </p:nvSpPr>
        <p:spPr>
          <a:xfrm>
            <a:off x="292231" y="3308250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pt-BR" sz="2000" b="1" u="sng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  <a:r>
              <a:rPr lang="cs-CZ" sz="2000" b="1" u="sng" dirty="0">
                <a:solidFill>
                  <a:schemeClr val="bg1"/>
                </a:solidFill>
                <a:latin typeface="Arial" panose="020B0604020202020204" pitchFamily="34" charset="0"/>
              </a:rPr>
              <a:t> 293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12 – 15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29" name="TextovéPole 28"/>
          <p:cNvSpPr txBox="1"/>
          <p:nvPr>
            <p:custDataLst>
              <p:tags r:id="rId9"/>
            </p:custDataLst>
          </p:nvPr>
        </p:nvSpPr>
        <p:spPr>
          <a:xfrm>
            <a:off x="5289543" y="3149720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873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20 % celku)</a:t>
            </a:r>
          </a:p>
        </p:txBody>
      </p:sp>
      <p:sp>
        <p:nvSpPr>
          <p:cNvPr id="30" name="Šipka doprava 29"/>
          <p:cNvSpPr/>
          <p:nvPr/>
        </p:nvSpPr>
        <p:spPr>
          <a:xfrm>
            <a:off x="4794623" y="345951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TextovéPole 30"/>
          <p:cNvSpPr txBox="1"/>
          <p:nvPr>
            <p:custDataLst>
              <p:tags r:id="rId10"/>
            </p:custDataLst>
          </p:nvPr>
        </p:nvSpPr>
        <p:spPr>
          <a:xfrm>
            <a:off x="224157" y="4518452"/>
            <a:ext cx="3271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16 – 19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ovéPole 31"/>
          <p:cNvSpPr txBox="1"/>
          <p:nvPr>
            <p:custDataLst>
              <p:tags r:id="rId11"/>
            </p:custDataLst>
          </p:nvPr>
        </p:nvSpPr>
        <p:spPr>
          <a:xfrm>
            <a:off x="292231" y="5081753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rgbClr val="FFFFFF"/>
                </a:solidFill>
                <a:latin typeface="Arial" panose="020B0604020202020204" pitchFamily="34" charset="0"/>
              </a:rPr>
              <a:t>3 610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16 – 19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33" name="TextovéPole 32"/>
          <p:cNvSpPr txBox="1"/>
          <p:nvPr>
            <p:custDataLst>
              <p:tags r:id="rId12"/>
            </p:custDataLst>
          </p:nvPr>
        </p:nvSpPr>
        <p:spPr>
          <a:xfrm>
            <a:off x="5289543" y="4913698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129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4 % celku)</a:t>
            </a:r>
          </a:p>
        </p:txBody>
      </p:sp>
      <p:sp>
        <p:nvSpPr>
          <p:cNvPr id="34" name="Šipka doprava 33"/>
          <p:cNvSpPr/>
          <p:nvPr/>
        </p:nvSpPr>
        <p:spPr>
          <a:xfrm>
            <a:off x="4794623" y="5204446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extovéPole 1"/>
          <p:cNvSpPr txBox="1"/>
          <p:nvPr>
            <p:custDataLst>
              <p:tags r:id="rId13"/>
            </p:custDataLst>
          </p:nvPr>
        </p:nvSpPr>
        <p:spPr>
          <a:xfrm>
            <a:off x="9505950" y="2357659"/>
            <a:ext cx="2581275" cy="310854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Průběžně hodnocená data</a:t>
            </a:r>
          </a:p>
          <a:p>
            <a:r>
              <a:rPr lang="cs-CZ" sz="1400" dirty="0"/>
              <a:t>o nákazách žáků ukazují </a:t>
            </a:r>
          </a:p>
          <a:p>
            <a:r>
              <a:rPr lang="cs-CZ" sz="1400" dirty="0"/>
              <a:t>na logický gradient v podílu nákaz souvisejících se školou (výsledky epidemických šetření KHS). </a:t>
            </a:r>
          </a:p>
          <a:p>
            <a:r>
              <a:rPr lang="cs-CZ" sz="1400" dirty="0"/>
              <a:t>Věková kategorie, která je nejdéle ve škole (5 – 11 let) vykazuje 30 % z celkem zachycených nákaz (po 12.4.) jako souvisejících se školou, dále tento podíl klesá k 20 % (třída 12 – 15 let) a k 4 % (16 – 19 let). </a:t>
            </a:r>
          </a:p>
        </p:txBody>
      </p:sp>
    </p:spTree>
    <p:extLst>
      <p:ext uri="{BB962C8B-B14F-4D97-AF65-F5344CB8AC3E}">
        <p14:creationId xmlns:p14="http://schemas.microsoft.com/office/powerpoint/2010/main" val="29362406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u="sng" dirty="0"/>
              <a:t>5</a:t>
            </a:r>
            <a:r>
              <a:rPr lang="cs-CZ" u="sng" dirty="0"/>
              <a:t>-15 let</a:t>
            </a:r>
            <a:r>
              <a:rPr lang="cs-CZ" dirty="0"/>
              <a:t> mezi 12.4 – 22.6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849264"/>
              </p:ext>
            </p:extLst>
          </p:nvPr>
        </p:nvGraphicFramePr>
        <p:xfrm>
          <a:off x="700436" y="2057360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1 279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10 724 (95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3 370 (29.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7 354 (65.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555 (4.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291 (2.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264 (2.3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202907"/>
            <a:ext cx="57935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22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58495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70889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70889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512554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512555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30449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7088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91400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5855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501770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4786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8168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58495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CD65A0-5873-4857-BF4E-14496FC5AB8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62968992"/>
              </p:ext>
            </p:extLst>
          </p:nvPr>
        </p:nvGraphicFramePr>
        <p:xfrm>
          <a:off x="6751384" y="2057360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 996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2 927 (97.7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871 (29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2 056 (68.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69 (2.3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35 (1.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34 (1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CEBEF2F5-AB47-4FCA-99E0-CF4FC2891E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95819" y="1202907"/>
            <a:ext cx="57967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22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BF932EB-B902-4811-A3F3-6DDDF237D021}"/>
              </a:ext>
            </a:extLst>
          </p:cNvPr>
          <p:cNvCxnSpPr>
            <a:cxnSpLocks/>
            <a:stCxn id="47" idx="2"/>
            <a:endCxn id="50" idx="2"/>
          </p:cNvCxnSpPr>
          <p:nvPr/>
        </p:nvCxnSpPr>
        <p:spPr>
          <a:xfrm rot="10800000" flipH="1" flipV="1">
            <a:off x="6586887" y="2358495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11575C7-FE51-4E5C-BAFA-A111E6EBD5A6}"/>
              </a:ext>
            </a:extLst>
          </p:cNvPr>
          <p:cNvCxnSpPr>
            <a:cxnSpLocks/>
            <a:stCxn id="53" idx="2"/>
            <a:endCxn id="48" idx="2"/>
          </p:cNvCxnSpPr>
          <p:nvPr/>
        </p:nvCxnSpPr>
        <p:spPr>
          <a:xfrm rot="10800000" flipH="1" flipV="1">
            <a:off x="6918963" y="2870889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FA1F7F8-16D4-4858-BCA8-9A302AF7A522}"/>
              </a:ext>
            </a:extLst>
          </p:cNvPr>
          <p:cNvCxnSpPr>
            <a:cxnSpLocks/>
            <a:stCxn id="53" idx="2"/>
            <a:endCxn id="49" idx="2"/>
          </p:cNvCxnSpPr>
          <p:nvPr/>
        </p:nvCxnSpPr>
        <p:spPr>
          <a:xfrm rot="10800000" flipH="1" flipV="1">
            <a:off x="6918963" y="2870889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FF9D491-E609-4E6C-8E85-9CA6F385FD5A}"/>
              </a:ext>
            </a:extLst>
          </p:cNvPr>
          <p:cNvCxnSpPr>
            <a:cxnSpLocks/>
            <a:stCxn id="50" idx="2"/>
            <a:endCxn id="51" idx="2"/>
          </p:cNvCxnSpPr>
          <p:nvPr/>
        </p:nvCxnSpPr>
        <p:spPr>
          <a:xfrm rot="10800000" flipH="1" flipV="1">
            <a:off x="6918963" y="4512554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D626E197-0824-45A8-B593-A89931ED9C58}"/>
              </a:ext>
            </a:extLst>
          </p:cNvPr>
          <p:cNvCxnSpPr>
            <a:cxnSpLocks/>
            <a:stCxn id="50" idx="2"/>
            <a:endCxn id="52" idx="2"/>
          </p:cNvCxnSpPr>
          <p:nvPr/>
        </p:nvCxnSpPr>
        <p:spPr>
          <a:xfrm rot="10800000" flipH="1" flipV="1">
            <a:off x="6918963" y="4512555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09DFE20-1CAE-4971-A08F-DBD502E8DEEE}"/>
              </a:ext>
            </a:extLst>
          </p:cNvPr>
          <p:cNvSpPr/>
          <p:nvPr/>
        </p:nvSpPr>
        <p:spPr>
          <a:xfrm>
            <a:off x="6586887" y="230449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A457C35-A674-4C67-9256-A231FDB261A2}"/>
              </a:ext>
            </a:extLst>
          </p:cNvPr>
          <p:cNvSpPr/>
          <p:nvPr/>
        </p:nvSpPr>
        <p:spPr>
          <a:xfrm>
            <a:off x="7399865" y="337088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F876611-9209-4AAB-B85E-5458C290562F}"/>
              </a:ext>
            </a:extLst>
          </p:cNvPr>
          <p:cNvSpPr/>
          <p:nvPr/>
        </p:nvSpPr>
        <p:spPr>
          <a:xfrm>
            <a:off x="7399865" y="391400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29B7EAB-5520-410B-91BC-002D2FB8118A}"/>
              </a:ext>
            </a:extLst>
          </p:cNvPr>
          <p:cNvSpPr/>
          <p:nvPr/>
        </p:nvSpPr>
        <p:spPr>
          <a:xfrm>
            <a:off x="6918963" y="445855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94490D-1E26-4D77-86B6-29DF0CE78D61}"/>
              </a:ext>
            </a:extLst>
          </p:cNvPr>
          <p:cNvSpPr/>
          <p:nvPr/>
        </p:nvSpPr>
        <p:spPr>
          <a:xfrm>
            <a:off x="7399865" y="501770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43EDF7-BE0D-42CE-87AE-45C6C4EBB8DA}"/>
              </a:ext>
            </a:extLst>
          </p:cNvPr>
          <p:cNvSpPr/>
          <p:nvPr/>
        </p:nvSpPr>
        <p:spPr>
          <a:xfrm>
            <a:off x="7399865" y="554786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2A0847-F895-4FF7-B901-5DCDFBBF5405}"/>
              </a:ext>
            </a:extLst>
          </p:cNvPr>
          <p:cNvSpPr/>
          <p:nvPr/>
        </p:nvSpPr>
        <p:spPr>
          <a:xfrm>
            <a:off x="6918963" y="28168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D4B96BC-E68B-450D-A497-DAE9BBF44946}"/>
              </a:ext>
            </a:extLst>
          </p:cNvPr>
          <p:cNvCxnSpPr>
            <a:cxnSpLocks/>
            <a:stCxn id="47" idx="2"/>
            <a:endCxn id="53" idx="2"/>
          </p:cNvCxnSpPr>
          <p:nvPr/>
        </p:nvCxnSpPr>
        <p:spPr>
          <a:xfrm rot="10800000" flipH="1" flipV="1">
            <a:off x="6586887" y="2358495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67375" y="6329899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35434088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u="sng" dirty="0"/>
              <a:t>5</a:t>
            </a:r>
            <a:r>
              <a:rPr lang="cs-CZ" u="sng" dirty="0"/>
              <a:t>-1</a:t>
            </a:r>
            <a:r>
              <a:rPr lang="en-US" u="sng" dirty="0"/>
              <a:t>1</a:t>
            </a:r>
            <a:r>
              <a:rPr lang="cs-CZ" u="sng" dirty="0"/>
              <a:t> let</a:t>
            </a:r>
            <a:r>
              <a:rPr lang="cs-CZ" dirty="0"/>
              <a:t> mezi 12.4 – 22.6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89966"/>
              </p:ext>
            </p:extLst>
          </p:nvPr>
        </p:nvGraphicFramePr>
        <p:xfrm>
          <a:off x="700436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6 986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6 686 (95.7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2 015 (28.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4 671 (66.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300 (4.3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53 (2.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147 (2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155282"/>
            <a:ext cx="57935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1</a:t>
            </a:r>
            <a:r>
              <a:rPr lang="cs-CZ" sz="2000" b="1" dirty="0"/>
              <a:t> let</a:t>
            </a:r>
          </a:p>
          <a:p>
            <a:r>
              <a:rPr lang="cs-CZ" sz="2000" b="1" dirty="0"/>
              <a:t>12.4. – 22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CD65A0-5873-4857-BF4E-14496FC5AB8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35414365"/>
              </p:ext>
            </p:extLst>
          </p:nvPr>
        </p:nvGraphicFramePr>
        <p:xfrm>
          <a:off x="6656134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 123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2 081 (98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607 (28.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1 474 (69.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42 (2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7 (0.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25 (1.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CEBEF2F5-AB47-4FCA-99E0-CF4FC2891E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00569" y="1155282"/>
            <a:ext cx="57967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1</a:t>
            </a:r>
            <a:r>
              <a:rPr lang="cs-CZ" sz="2000" b="1" dirty="0"/>
              <a:t> let</a:t>
            </a:r>
          </a:p>
          <a:p>
            <a:r>
              <a:rPr lang="cs-CZ" sz="2000" b="1" dirty="0"/>
              <a:t>12.4. – 22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BF932EB-B902-4811-A3F3-6DDDF237D021}"/>
              </a:ext>
            </a:extLst>
          </p:cNvPr>
          <p:cNvCxnSpPr>
            <a:cxnSpLocks/>
            <a:stCxn id="47" idx="2"/>
            <a:endCxn id="50" idx="2"/>
          </p:cNvCxnSpPr>
          <p:nvPr/>
        </p:nvCxnSpPr>
        <p:spPr>
          <a:xfrm rot="10800000" flipH="1" flipV="1">
            <a:off x="6491637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11575C7-FE51-4E5C-BAFA-A111E6EBD5A6}"/>
              </a:ext>
            </a:extLst>
          </p:cNvPr>
          <p:cNvCxnSpPr>
            <a:cxnSpLocks/>
            <a:stCxn id="53" idx="2"/>
            <a:endCxn id="48" idx="2"/>
          </p:cNvCxnSpPr>
          <p:nvPr/>
        </p:nvCxnSpPr>
        <p:spPr>
          <a:xfrm rot="10800000" flipH="1" flipV="1">
            <a:off x="6823713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FA1F7F8-16D4-4858-BCA8-9A302AF7A522}"/>
              </a:ext>
            </a:extLst>
          </p:cNvPr>
          <p:cNvCxnSpPr>
            <a:cxnSpLocks/>
            <a:stCxn id="53" idx="2"/>
            <a:endCxn id="49" idx="2"/>
          </p:cNvCxnSpPr>
          <p:nvPr/>
        </p:nvCxnSpPr>
        <p:spPr>
          <a:xfrm rot="10800000" flipH="1" flipV="1">
            <a:off x="6823713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FF9D491-E609-4E6C-8E85-9CA6F385FD5A}"/>
              </a:ext>
            </a:extLst>
          </p:cNvPr>
          <p:cNvCxnSpPr>
            <a:cxnSpLocks/>
            <a:stCxn id="50" idx="2"/>
            <a:endCxn id="51" idx="2"/>
          </p:cNvCxnSpPr>
          <p:nvPr/>
        </p:nvCxnSpPr>
        <p:spPr>
          <a:xfrm rot="10800000" flipH="1" flipV="1">
            <a:off x="6823713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D626E197-0824-45A8-B593-A89931ED9C58}"/>
              </a:ext>
            </a:extLst>
          </p:cNvPr>
          <p:cNvCxnSpPr>
            <a:cxnSpLocks/>
            <a:stCxn id="50" idx="2"/>
            <a:endCxn id="52" idx="2"/>
          </p:cNvCxnSpPr>
          <p:nvPr/>
        </p:nvCxnSpPr>
        <p:spPr>
          <a:xfrm rot="10800000" flipH="1" flipV="1">
            <a:off x="6823713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09DFE20-1CAE-4971-A08F-DBD502E8DEEE}"/>
              </a:ext>
            </a:extLst>
          </p:cNvPr>
          <p:cNvSpPr/>
          <p:nvPr/>
        </p:nvSpPr>
        <p:spPr>
          <a:xfrm>
            <a:off x="6491637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A457C35-A674-4C67-9256-A231FDB261A2}"/>
              </a:ext>
            </a:extLst>
          </p:cNvPr>
          <p:cNvSpPr/>
          <p:nvPr/>
        </p:nvSpPr>
        <p:spPr>
          <a:xfrm>
            <a:off x="7304615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F876611-9209-4AAB-B85E-5458C290562F}"/>
              </a:ext>
            </a:extLst>
          </p:cNvPr>
          <p:cNvSpPr/>
          <p:nvPr/>
        </p:nvSpPr>
        <p:spPr>
          <a:xfrm>
            <a:off x="7304615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29B7EAB-5520-410B-91BC-002D2FB8118A}"/>
              </a:ext>
            </a:extLst>
          </p:cNvPr>
          <p:cNvSpPr/>
          <p:nvPr/>
        </p:nvSpPr>
        <p:spPr>
          <a:xfrm>
            <a:off x="6823713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94490D-1E26-4D77-86B6-29DF0CE78D61}"/>
              </a:ext>
            </a:extLst>
          </p:cNvPr>
          <p:cNvSpPr/>
          <p:nvPr/>
        </p:nvSpPr>
        <p:spPr>
          <a:xfrm>
            <a:off x="7304615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43EDF7-BE0D-42CE-87AE-45C6C4EBB8DA}"/>
              </a:ext>
            </a:extLst>
          </p:cNvPr>
          <p:cNvSpPr/>
          <p:nvPr/>
        </p:nvSpPr>
        <p:spPr>
          <a:xfrm>
            <a:off x="7304615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2A0847-F895-4FF7-B901-5DCDFBBF5405}"/>
              </a:ext>
            </a:extLst>
          </p:cNvPr>
          <p:cNvSpPr/>
          <p:nvPr/>
        </p:nvSpPr>
        <p:spPr>
          <a:xfrm>
            <a:off x="6823713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D4B96BC-E68B-450D-A497-DAE9BBF44946}"/>
              </a:ext>
            </a:extLst>
          </p:cNvPr>
          <p:cNvCxnSpPr>
            <a:cxnSpLocks/>
            <a:stCxn id="47" idx="2"/>
            <a:endCxn id="53" idx="2"/>
          </p:cNvCxnSpPr>
          <p:nvPr/>
        </p:nvCxnSpPr>
        <p:spPr>
          <a:xfrm rot="10800000" flipH="1" flipV="1">
            <a:off x="6491637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67375" y="6282274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19738159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cs-CZ" u="sng" dirty="0"/>
              <a:t>12-15 let</a:t>
            </a:r>
            <a:r>
              <a:rPr lang="cs-CZ" dirty="0"/>
              <a:t> mezi 12.4 – 22.6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7568885"/>
              </p:ext>
            </p:extLst>
          </p:nvPr>
        </p:nvGraphicFramePr>
        <p:xfrm>
          <a:off x="700436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293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4 038 (94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1 355 (31.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2 683 (62.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255 (5.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38 (3.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117 (2.7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155282"/>
            <a:ext cx="57935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12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22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667375" y="6282274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graphicFrame>
        <p:nvGraphicFramePr>
          <p:cNvPr id="35" name="Table 39">
            <a:extLst>
              <a:ext uri="{FF2B5EF4-FFF2-40B4-BE49-F238E27FC236}">
                <a16:creationId xmlns:a16="http://schemas.microsoft.com/office/drawing/2014/main" id="{ECF8D81E-48FD-47AC-95EA-897CD0D322D4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31647802"/>
              </p:ext>
            </p:extLst>
          </p:nvPr>
        </p:nvGraphicFramePr>
        <p:xfrm>
          <a:off x="6684709" y="2009735"/>
          <a:ext cx="5500086" cy="4432769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873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846 (96.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625343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264 (30.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582 (66.7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27 (3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8 (2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9 (1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cxnSp>
        <p:nvCxnSpPr>
          <p:cNvPr id="36" name="Connector: Elbow 41">
            <a:extLst>
              <a:ext uri="{FF2B5EF4-FFF2-40B4-BE49-F238E27FC236}">
                <a16:creationId xmlns:a16="http://schemas.microsoft.com/office/drawing/2014/main" id="{A857519A-CA40-411D-980E-698A4B9412F3}"/>
              </a:ext>
            </a:extLst>
          </p:cNvPr>
          <p:cNvCxnSpPr>
            <a:cxnSpLocks/>
            <a:stCxn id="56" idx="2"/>
            <a:endCxn id="59" idx="2"/>
          </p:cNvCxnSpPr>
          <p:nvPr/>
        </p:nvCxnSpPr>
        <p:spPr>
          <a:xfrm rot="10800000" flipH="1" flipV="1">
            <a:off x="6520212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42">
            <a:extLst>
              <a:ext uri="{FF2B5EF4-FFF2-40B4-BE49-F238E27FC236}">
                <a16:creationId xmlns:a16="http://schemas.microsoft.com/office/drawing/2014/main" id="{11C712BA-6083-45F2-BAC7-D646EB9DCE80}"/>
              </a:ext>
            </a:extLst>
          </p:cNvPr>
          <p:cNvCxnSpPr>
            <a:cxnSpLocks/>
            <a:stCxn id="62" idx="2"/>
            <a:endCxn id="57" idx="2"/>
          </p:cNvCxnSpPr>
          <p:nvPr/>
        </p:nvCxnSpPr>
        <p:spPr>
          <a:xfrm rot="10800000" flipH="1" flipV="1">
            <a:off x="6852288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43">
            <a:extLst>
              <a:ext uri="{FF2B5EF4-FFF2-40B4-BE49-F238E27FC236}">
                <a16:creationId xmlns:a16="http://schemas.microsoft.com/office/drawing/2014/main" id="{244AF209-2F82-4B3B-8771-D86CB9D0AA7C}"/>
              </a:ext>
            </a:extLst>
          </p:cNvPr>
          <p:cNvCxnSpPr>
            <a:cxnSpLocks/>
            <a:stCxn id="62" idx="2"/>
            <a:endCxn id="58" idx="2"/>
          </p:cNvCxnSpPr>
          <p:nvPr/>
        </p:nvCxnSpPr>
        <p:spPr>
          <a:xfrm rot="10800000" flipH="1" flipV="1">
            <a:off x="6852288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44">
            <a:extLst>
              <a:ext uri="{FF2B5EF4-FFF2-40B4-BE49-F238E27FC236}">
                <a16:creationId xmlns:a16="http://schemas.microsoft.com/office/drawing/2014/main" id="{69C42B24-0189-4D75-B374-7EFD2DAAED66}"/>
              </a:ext>
            </a:extLst>
          </p:cNvPr>
          <p:cNvCxnSpPr>
            <a:cxnSpLocks/>
            <a:stCxn id="59" idx="2"/>
            <a:endCxn id="60" idx="2"/>
          </p:cNvCxnSpPr>
          <p:nvPr/>
        </p:nvCxnSpPr>
        <p:spPr>
          <a:xfrm rot="10800000" flipH="1" flipV="1">
            <a:off x="6852288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45">
            <a:extLst>
              <a:ext uri="{FF2B5EF4-FFF2-40B4-BE49-F238E27FC236}">
                <a16:creationId xmlns:a16="http://schemas.microsoft.com/office/drawing/2014/main" id="{7A50D906-639B-4F20-895A-E56E8A2F8918}"/>
              </a:ext>
            </a:extLst>
          </p:cNvPr>
          <p:cNvCxnSpPr>
            <a:cxnSpLocks/>
            <a:stCxn id="59" idx="2"/>
            <a:endCxn id="61" idx="2"/>
          </p:cNvCxnSpPr>
          <p:nvPr/>
        </p:nvCxnSpPr>
        <p:spPr>
          <a:xfrm rot="10800000" flipH="1" flipV="1">
            <a:off x="6852288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46">
            <a:extLst>
              <a:ext uri="{FF2B5EF4-FFF2-40B4-BE49-F238E27FC236}">
                <a16:creationId xmlns:a16="http://schemas.microsoft.com/office/drawing/2014/main" id="{2E8EBDA0-CEA2-4C7B-857F-599F39037B81}"/>
              </a:ext>
            </a:extLst>
          </p:cNvPr>
          <p:cNvSpPr/>
          <p:nvPr/>
        </p:nvSpPr>
        <p:spPr>
          <a:xfrm>
            <a:off x="6520212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Oval 47">
            <a:extLst>
              <a:ext uri="{FF2B5EF4-FFF2-40B4-BE49-F238E27FC236}">
                <a16:creationId xmlns:a16="http://schemas.microsoft.com/office/drawing/2014/main" id="{E8A199F8-C841-4529-BA30-699B96B16DED}"/>
              </a:ext>
            </a:extLst>
          </p:cNvPr>
          <p:cNvSpPr/>
          <p:nvPr/>
        </p:nvSpPr>
        <p:spPr>
          <a:xfrm>
            <a:off x="7333190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Oval 48">
            <a:extLst>
              <a:ext uri="{FF2B5EF4-FFF2-40B4-BE49-F238E27FC236}">
                <a16:creationId xmlns:a16="http://schemas.microsoft.com/office/drawing/2014/main" id="{2BEC8467-23A1-4CFC-BFCE-1383ECB0A7BD}"/>
              </a:ext>
            </a:extLst>
          </p:cNvPr>
          <p:cNvSpPr/>
          <p:nvPr/>
        </p:nvSpPr>
        <p:spPr>
          <a:xfrm>
            <a:off x="7333190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Oval 49">
            <a:extLst>
              <a:ext uri="{FF2B5EF4-FFF2-40B4-BE49-F238E27FC236}">
                <a16:creationId xmlns:a16="http://schemas.microsoft.com/office/drawing/2014/main" id="{6F449461-D626-4F4A-A5B9-452A8D2903AA}"/>
              </a:ext>
            </a:extLst>
          </p:cNvPr>
          <p:cNvSpPr/>
          <p:nvPr/>
        </p:nvSpPr>
        <p:spPr>
          <a:xfrm>
            <a:off x="6852288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Oval 50">
            <a:extLst>
              <a:ext uri="{FF2B5EF4-FFF2-40B4-BE49-F238E27FC236}">
                <a16:creationId xmlns:a16="http://schemas.microsoft.com/office/drawing/2014/main" id="{9728F3B6-94A4-47B6-8C2C-B3F52397DF90}"/>
              </a:ext>
            </a:extLst>
          </p:cNvPr>
          <p:cNvSpPr/>
          <p:nvPr/>
        </p:nvSpPr>
        <p:spPr>
          <a:xfrm>
            <a:off x="7333190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Oval 51">
            <a:extLst>
              <a:ext uri="{FF2B5EF4-FFF2-40B4-BE49-F238E27FC236}">
                <a16:creationId xmlns:a16="http://schemas.microsoft.com/office/drawing/2014/main" id="{CECD612A-9766-4A55-86EA-8C4A1F50DA1C}"/>
              </a:ext>
            </a:extLst>
          </p:cNvPr>
          <p:cNvSpPr/>
          <p:nvPr/>
        </p:nvSpPr>
        <p:spPr>
          <a:xfrm>
            <a:off x="7333190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Oval 52">
            <a:extLst>
              <a:ext uri="{FF2B5EF4-FFF2-40B4-BE49-F238E27FC236}">
                <a16:creationId xmlns:a16="http://schemas.microsoft.com/office/drawing/2014/main" id="{6E05142A-6F83-425E-96C8-385291A504C2}"/>
              </a:ext>
            </a:extLst>
          </p:cNvPr>
          <p:cNvSpPr/>
          <p:nvPr/>
        </p:nvSpPr>
        <p:spPr>
          <a:xfrm>
            <a:off x="6852288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3" name="Connector: Elbow 53">
            <a:extLst>
              <a:ext uri="{FF2B5EF4-FFF2-40B4-BE49-F238E27FC236}">
                <a16:creationId xmlns:a16="http://schemas.microsoft.com/office/drawing/2014/main" id="{58161BC0-4A37-4A9D-9532-DCC329AE9465}"/>
              </a:ext>
            </a:extLst>
          </p:cNvPr>
          <p:cNvCxnSpPr>
            <a:cxnSpLocks/>
            <a:stCxn id="56" idx="2"/>
            <a:endCxn id="62" idx="2"/>
          </p:cNvCxnSpPr>
          <p:nvPr/>
        </p:nvCxnSpPr>
        <p:spPr>
          <a:xfrm rot="10800000" flipH="1" flipV="1">
            <a:off x="6520212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40">
            <a:extLst>
              <a:ext uri="{FF2B5EF4-FFF2-40B4-BE49-F238E27FC236}">
                <a16:creationId xmlns:a16="http://schemas.microsoft.com/office/drawing/2014/main" id="{ED35EB35-A2D4-47EB-B714-BB760F562F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129144" y="1155282"/>
            <a:ext cx="57967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12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22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30004152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192454D-DD98-4298-B7F5-F6E7FDB992A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8577"/>
            <a:ext cx="11686436" cy="576000"/>
          </a:xfrm>
        </p:spPr>
        <p:txBody>
          <a:bodyPr/>
          <a:lstStyle/>
          <a:p>
            <a:pPr algn="ctr"/>
            <a:r>
              <a:rPr lang="cs-CZ" sz="2400" dirty="0"/>
              <a:t>Harmonogram otevírání školských zařízení v krajích ČR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3B917A4C-0A6E-4A20-B4B4-7BEC1A524DC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23843" y="837488"/>
          <a:ext cx="10263501" cy="5435344"/>
        </p:xfrm>
        <a:graphic>
          <a:graphicData uri="http://schemas.openxmlformats.org/drawingml/2006/table">
            <a:tbl>
              <a:tblPr/>
              <a:tblGrid>
                <a:gridCol w="1557713">
                  <a:extLst>
                    <a:ext uri="{9D8B030D-6E8A-4147-A177-3AD203B41FA5}">
                      <a16:colId xmlns:a16="http://schemas.microsoft.com/office/drawing/2014/main" val="1215761398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419350444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652802359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4228724131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501573108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711309026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419855610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316123008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445012241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837524180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265492353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2850195630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082479294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478618505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676138909"/>
                    </a:ext>
                  </a:extLst>
                </a:gridCol>
              </a:tblGrid>
              <a:tr h="58832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atum změny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K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KV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C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B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HA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M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S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HC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YS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129151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4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Š - předškolní děti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5-6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bez roušek a testování dětí (pouze zaměstnanci),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Š - 1 stupeň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6-11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rotačně, 2x týdně testy a roušky 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7440675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4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Š zcela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3-6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, 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Š a VOŠ praktické vyučování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943551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3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Š zcela, ZŠ - 2. stupeň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1-15 let 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č. niž. st.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ym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)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otačně, test 2x týdně (1. st. 1x týdně), S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5-19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 VO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9-21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praktické vyučování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0514397"/>
                  </a:ext>
                </a:extLst>
              </a:tr>
              <a:tr h="785439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MŠ zcela, ZŠ - 2. stupeň (vč. niž.st. gymnázií) rotačně, test 2x týdně (1. st. 1x týdně), SŠ a VOŠ praktické vyučování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tevření škol ve zbývajících krajích 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le režimu z 3. 5. 2021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9456110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Š (</a:t>
                      </a:r>
                      <a:r>
                        <a:rPr lang="pl-PL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6-15 let</a:t>
                      </a:r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zcela a bez rotací (test 1x týdně)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rotací 1. stupeň ZŠ (2. st. 2x týdně test)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1235255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 stupeň ZŠ bez rotací v celé ČR (test 1x týdně),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oretická výuka bez rotací (test 1x týdně) na S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5-19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, VO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9-22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a V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9-25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79192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74211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u="sng" dirty="0"/>
              <a:t>5</a:t>
            </a:r>
            <a:r>
              <a:rPr lang="cs-CZ" u="sng" dirty="0"/>
              <a:t>-15 let</a:t>
            </a:r>
            <a:r>
              <a:rPr lang="cs-CZ" dirty="0"/>
              <a:t> mezi 14.6 – 20.6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700436" y="2057360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39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132 (95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25 (18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107 (77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7 (5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 (0.7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6 (4.3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202907"/>
            <a:ext cx="57935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zitivní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y u dětí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 l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.6. – 20.6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záchyty -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pulace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58495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70889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70889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512554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512555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30449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7088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91400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5855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501770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4786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8168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58495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CD65A0-5873-4857-BF4E-14496FC5AB8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/>
          </p:nvPr>
        </p:nvGraphicFramePr>
        <p:xfrm>
          <a:off x="6751384" y="2057360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2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52 (100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8 (15.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44 (84.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0 (0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0 (0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0 (0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CEBEF2F5-AB47-4FCA-99E0-CF4FC2891E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95819" y="1202907"/>
            <a:ext cx="57967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zitivní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y u dětí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 l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.6. – 20.6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a pravděpodobně ve škole*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BF932EB-B902-4811-A3F3-6DDDF237D021}"/>
              </a:ext>
            </a:extLst>
          </p:cNvPr>
          <p:cNvCxnSpPr>
            <a:cxnSpLocks/>
            <a:stCxn id="47" idx="2"/>
            <a:endCxn id="50" idx="2"/>
          </p:cNvCxnSpPr>
          <p:nvPr/>
        </p:nvCxnSpPr>
        <p:spPr>
          <a:xfrm rot="10800000" flipH="1" flipV="1">
            <a:off x="6586887" y="2358495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11575C7-FE51-4E5C-BAFA-A111E6EBD5A6}"/>
              </a:ext>
            </a:extLst>
          </p:cNvPr>
          <p:cNvCxnSpPr>
            <a:cxnSpLocks/>
            <a:stCxn id="53" idx="2"/>
            <a:endCxn id="48" idx="2"/>
          </p:cNvCxnSpPr>
          <p:nvPr/>
        </p:nvCxnSpPr>
        <p:spPr>
          <a:xfrm rot="10800000" flipH="1" flipV="1">
            <a:off x="6918963" y="2870889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FA1F7F8-16D4-4858-BCA8-9A302AF7A522}"/>
              </a:ext>
            </a:extLst>
          </p:cNvPr>
          <p:cNvCxnSpPr>
            <a:cxnSpLocks/>
            <a:stCxn id="53" idx="2"/>
            <a:endCxn id="49" idx="2"/>
          </p:cNvCxnSpPr>
          <p:nvPr/>
        </p:nvCxnSpPr>
        <p:spPr>
          <a:xfrm rot="10800000" flipH="1" flipV="1">
            <a:off x="6918963" y="2870889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FF9D491-E609-4E6C-8E85-9CA6F385FD5A}"/>
              </a:ext>
            </a:extLst>
          </p:cNvPr>
          <p:cNvCxnSpPr>
            <a:cxnSpLocks/>
            <a:stCxn id="50" idx="2"/>
            <a:endCxn id="51" idx="2"/>
          </p:cNvCxnSpPr>
          <p:nvPr/>
        </p:nvCxnSpPr>
        <p:spPr>
          <a:xfrm rot="10800000" flipH="1" flipV="1">
            <a:off x="6918963" y="4512554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D626E197-0824-45A8-B593-A89931ED9C58}"/>
              </a:ext>
            </a:extLst>
          </p:cNvPr>
          <p:cNvCxnSpPr>
            <a:cxnSpLocks/>
            <a:stCxn id="50" idx="2"/>
            <a:endCxn id="52" idx="2"/>
          </p:cNvCxnSpPr>
          <p:nvPr/>
        </p:nvCxnSpPr>
        <p:spPr>
          <a:xfrm rot="10800000" flipH="1" flipV="1">
            <a:off x="6918963" y="4512555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09DFE20-1CAE-4971-A08F-DBD502E8DEEE}"/>
              </a:ext>
            </a:extLst>
          </p:cNvPr>
          <p:cNvSpPr/>
          <p:nvPr/>
        </p:nvSpPr>
        <p:spPr>
          <a:xfrm>
            <a:off x="6586887" y="230449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A457C35-A674-4C67-9256-A231FDB261A2}"/>
              </a:ext>
            </a:extLst>
          </p:cNvPr>
          <p:cNvSpPr/>
          <p:nvPr/>
        </p:nvSpPr>
        <p:spPr>
          <a:xfrm>
            <a:off x="7399865" y="337088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F876611-9209-4AAB-B85E-5458C290562F}"/>
              </a:ext>
            </a:extLst>
          </p:cNvPr>
          <p:cNvSpPr/>
          <p:nvPr/>
        </p:nvSpPr>
        <p:spPr>
          <a:xfrm>
            <a:off x="7399865" y="391400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29B7EAB-5520-410B-91BC-002D2FB8118A}"/>
              </a:ext>
            </a:extLst>
          </p:cNvPr>
          <p:cNvSpPr/>
          <p:nvPr/>
        </p:nvSpPr>
        <p:spPr>
          <a:xfrm>
            <a:off x="6918963" y="445855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94490D-1E26-4D77-86B6-29DF0CE78D61}"/>
              </a:ext>
            </a:extLst>
          </p:cNvPr>
          <p:cNvSpPr/>
          <p:nvPr/>
        </p:nvSpPr>
        <p:spPr>
          <a:xfrm>
            <a:off x="7399865" y="501770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43EDF7-BE0D-42CE-87AE-45C6C4EBB8DA}"/>
              </a:ext>
            </a:extLst>
          </p:cNvPr>
          <p:cNvSpPr/>
          <p:nvPr/>
        </p:nvSpPr>
        <p:spPr>
          <a:xfrm>
            <a:off x="7399865" y="554786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2A0847-F895-4FF7-B901-5DCDFBBF5405}"/>
              </a:ext>
            </a:extLst>
          </p:cNvPr>
          <p:cNvSpPr/>
          <p:nvPr/>
        </p:nvSpPr>
        <p:spPr>
          <a:xfrm>
            <a:off x="6918963" y="28168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D4B96BC-E68B-450D-A497-DAE9BBF44946}"/>
              </a:ext>
            </a:extLst>
          </p:cNvPr>
          <p:cNvCxnSpPr>
            <a:cxnSpLocks/>
            <a:stCxn id="47" idx="2"/>
            <a:endCxn id="53" idx="2"/>
          </p:cNvCxnSpPr>
          <p:nvPr/>
        </p:nvCxnSpPr>
        <p:spPr>
          <a:xfrm rot="10800000" flipH="1" flipV="1">
            <a:off x="6586887" y="2358495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67375" y="6329899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kladem pro souhrn jsou konečné výsledky testů hlášené na individuální bázi do centrálního systému ISIN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28363555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u="sng" dirty="0"/>
              <a:t>5</a:t>
            </a:r>
            <a:r>
              <a:rPr lang="cs-CZ" u="sng" dirty="0"/>
              <a:t>-1</a:t>
            </a:r>
            <a:r>
              <a:rPr lang="en-US" u="sng" dirty="0"/>
              <a:t>1</a:t>
            </a:r>
            <a:r>
              <a:rPr lang="cs-CZ" u="sng" dirty="0"/>
              <a:t> let</a:t>
            </a:r>
            <a:r>
              <a:rPr lang="cs-CZ" dirty="0"/>
              <a:t> mezi 14.6 – 20.6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700436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73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2 (98.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13 (17.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59 (80.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(1.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0 (0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1 (1.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155282"/>
            <a:ext cx="57935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zitivní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y u dětí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.6. – 20.6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záchyty -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pulace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CD65A0-5873-4857-BF4E-14496FC5AB8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/>
          </p:nvPr>
        </p:nvGraphicFramePr>
        <p:xfrm>
          <a:off x="6656134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30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30 (100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6 (20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24 (80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0 (0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0 (0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0 (0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CEBEF2F5-AB47-4FCA-99E0-CF4FC2891E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00569" y="1155282"/>
            <a:ext cx="57967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zitivní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y u dětí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.6. – 20.6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a pravděpodobně ve škole*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BF932EB-B902-4811-A3F3-6DDDF237D021}"/>
              </a:ext>
            </a:extLst>
          </p:cNvPr>
          <p:cNvCxnSpPr>
            <a:cxnSpLocks/>
            <a:stCxn id="47" idx="2"/>
            <a:endCxn id="50" idx="2"/>
          </p:cNvCxnSpPr>
          <p:nvPr/>
        </p:nvCxnSpPr>
        <p:spPr>
          <a:xfrm rot="10800000" flipH="1" flipV="1">
            <a:off x="6491637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11575C7-FE51-4E5C-BAFA-A111E6EBD5A6}"/>
              </a:ext>
            </a:extLst>
          </p:cNvPr>
          <p:cNvCxnSpPr>
            <a:cxnSpLocks/>
            <a:stCxn id="53" idx="2"/>
            <a:endCxn id="48" idx="2"/>
          </p:cNvCxnSpPr>
          <p:nvPr/>
        </p:nvCxnSpPr>
        <p:spPr>
          <a:xfrm rot="10800000" flipH="1" flipV="1">
            <a:off x="6823713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FA1F7F8-16D4-4858-BCA8-9A302AF7A522}"/>
              </a:ext>
            </a:extLst>
          </p:cNvPr>
          <p:cNvCxnSpPr>
            <a:cxnSpLocks/>
            <a:stCxn id="53" idx="2"/>
            <a:endCxn id="49" idx="2"/>
          </p:cNvCxnSpPr>
          <p:nvPr/>
        </p:nvCxnSpPr>
        <p:spPr>
          <a:xfrm rot="10800000" flipH="1" flipV="1">
            <a:off x="6823713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FF9D491-E609-4E6C-8E85-9CA6F385FD5A}"/>
              </a:ext>
            </a:extLst>
          </p:cNvPr>
          <p:cNvCxnSpPr>
            <a:cxnSpLocks/>
            <a:stCxn id="50" idx="2"/>
            <a:endCxn id="51" idx="2"/>
          </p:cNvCxnSpPr>
          <p:nvPr/>
        </p:nvCxnSpPr>
        <p:spPr>
          <a:xfrm rot="10800000" flipH="1" flipV="1">
            <a:off x="6823713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D626E197-0824-45A8-B593-A89931ED9C58}"/>
              </a:ext>
            </a:extLst>
          </p:cNvPr>
          <p:cNvCxnSpPr>
            <a:cxnSpLocks/>
            <a:stCxn id="50" idx="2"/>
            <a:endCxn id="52" idx="2"/>
          </p:cNvCxnSpPr>
          <p:nvPr/>
        </p:nvCxnSpPr>
        <p:spPr>
          <a:xfrm rot="10800000" flipH="1" flipV="1">
            <a:off x="6823713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09DFE20-1CAE-4971-A08F-DBD502E8DEEE}"/>
              </a:ext>
            </a:extLst>
          </p:cNvPr>
          <p:cNvSpPr/>
          <p:nvPr/>
        </p:nvSpPr>
        <p:spPr>
          <a:xfrm>
            <a:off x="6491637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A457C35-A674-4C67-9256-A231FDB261A2}"/>
              </a:ext>
            </a:extLst>
          </p:cNvPr>
          <p:cNvSpPr/>
          <p:nvPr/>
        </p:nvSpPr>
        <p:spPr>
          <a:xfrm>
            <a:off x="7304615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F876611-9209-4AAB-B85E-5458C290562F}"/>
              </a:ext>
            </a:extLst>
          </p:cNvPr>
          <p:cNvSpPr/>
          <p:nvPr/>
        </p:nvSpPr>
        <p:spPr>
          <a:xfrm>
            <a:off x="7304615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29B7EAB-5520-410B-91BC-002D2FB8118A}"/>
              </a:ext>
            </a:extLst>
          </p:cNvPr>
          <p:cNvSpPr/>
          <p:nvPr/>
        </p:nvSpPr>
        <p:spPr>
          <a:xfrm>
            <a:off x="6823713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94490D-1E26-4D77-86B6-29DF0CE78D61}"/>
              </a:ext>
            </a:extLst>
          </p:cNvPr>
          <p:cNvSpPr/>
          <p:nvPr/>
        </p:nvSpPr>
        <p:spPr>
          <a:xfrm>
            <a:off x="7304615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43EDF7-BE0D-42CE-87AE-45C6C4EBB8DA}"/>
              </a:ext>
            </a:extLst>
          </p:cNvPr>
          <p:cNvSpPr/>
          <p:nvPr/>
        </p:nvSpPr>
        <p:spPr>
          <a:xfrm>
            <a:off x="7304615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2A0847-F895-4FF7-B901-5DCDFBBF5405}"/>
              </a:ext>
            </a:extLst>
          </p:cNvPr>
          <p:cNvSpPr/>
          <p:nvPr/>
        </p:nvSpPr>
        <p:spPr>
          <a:xfrm>
            <a:off x="6823713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D4B96BC-E68B-450D-A497-DAE9BBF44946}"/>
              </a:ext>
            </a:extLst>
          </p:cNvPr>
          <p:cNvCxnSpPr>
            <a:cxnSpLocks/>
            <a:stCxn id="47" idx="2"/>
            <a:endCxn id="53" idx="2"/>
          </p:cNvCxnSpPr>
          <p:nvPr/>
        </p:nvCxnSpPr>
        <p:spPr>
          <a:xfrm rot="10800000" flipH="1" flipV="1">
            <a:off x="6491637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67375" y="6282274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kladem pro souhrn jsou konečné výsledky testů hlášené na individuální bázi do centrálního systému ISIN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22679893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cs-CZ" u="sng" dirty="0"/>
              <a:t>12-15 let</a:t>
            </a:r>
            <a:r>
              <a:rPr lang="cs-CZ" dirty="0"/>
              <a:t> mezi 14.6 – 20.6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700436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66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60 (90.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12 (18.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48 (72.7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6 (9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 (1.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5 (7.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155282"/>
            <a:ext cx="57935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zitivní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y u dětí 12-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 l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.6. – 20.6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záchyty -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pulace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667375" y="6282274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graphicFrame>
        <p:nvGraphicFramePr>
          <p:cNvPr id="35" name="Table 39">
            <a:extLst>
              <a:ext uri="{FF2B5EF4-FFF2-40B4-BE49-F238E27FC236}">
                <a16:creationId xmlns:a16="http://schemas.microsoft.com/office/drawing/2014/main" id="{ECF8D81E-48FD-47AC-95EA-897CD0D322D4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/>
          </p:nvPr>
        </p:nvGraphicFramePr>
        <p:xfrm>
          <a:off x="6684709" y="2009735"/>
          <a:ext cx="5500086" cy="4432769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2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22 (100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625343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2 (9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20 (90.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0 (0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0 (0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0 (0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cxnSp>
        <p:nvCxnSpPr>
          <p:cNvPr id="36" name="Connector: Elbow 41">
            <a:extLst>
              <a:ext uri="{FF2B5EF4-FFF2-40B4-BE49-F238E27FC236}">
                <a16:creationId xmlns:a16="http://schemas.microsoft.com/office/drawing/2014/main" id="{A857519A-CA40-411D-980E-698A4B9412F3}"/>
              </a:ext>
            </a:extLst>
          </p:cNvPr>
          <p:cNvCxnSpPr>
            <a:cxnSpLocks/>
            <a:stCxn id="56" idx="2"/>
            <a:endCxn id="59" idx="2"/>
          </p:cNvCxnSpPr>
          <p:nvPr/>
        </p:nvCxnSpPr>
        <p:spPr>
          <a:xfrm rot="10800000" flipH="1" flipV="1">
            <a:off x="6520212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42">
            <a:extLst>
              <a:ext uri="{FF2B5EF4-FFF2-40B4-BE49-F238E27FC236}">
                <a16:creationId xmlns:a16="http://schemas.microsoft.com/office/drawing/2014/main" id="{11C712BA-6083-45F2-BAC7-D646EB9DCE80}"/>
              </a:ext>
            </a:extLst>
          </p:cNvPr>
          <p:cNvCxnSpPr>
            <a:cxnSpLocks/>
            <a:stCxn id="62" idx="2"/>
            <a:endCxn id="57" idx="2"/>
          </p:cNvCxnSpPr>
          <p:nvPr/>
        </p:nvCxnSpPr>
        <p:spPr>
          <a:xfrm rot="10800000" flipH="1" flipV="1">
            <a:off x="6852288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43">
            <a:extLst>
              <a:ext uri="{FF2B5EF4-FFF2-40B4-BE49-F238E27FC236}">
                <a16:creationId xmlns:a16="http://schemas.microsoft.com/office/drawing/2014/main" id="{244AF209-2F82-4B3B-8771-D86CB9D0AA7C}"/>
              </a:ext>
            </a:extLst>
          </p:cNvPr>
          <p:cNvCxnSpPr>
            <a:cxnSpLocks/>
            <a:stCxn id="62" idx="2"/>
            <a:endCxn id="58" idx="2"/>
          </p:cNvCxnSpPr>
          <p:nvPr/>
        </p:nvCxnSpPr>
        <p:spPr>
          <a:xfrm rot="10800000" flipH="1" flipV="1">
            <a:off x="6852288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44">
            <a:extLst>
              <a:ext uri="{FF2B5EF4-FFF2-40B4-BE49-F238E27FC236}">
                <a16:creationId xmlns:a16="http://schemas.microsoft.com/office/drawing/2014/main" id="{69C42B24-0189-4D75-B374-7EFD2DAAED66}"/>
              </a:ext>
            </a:extLst>
          </p:cNvPr>
          <p:cNvCxnSpPr>
            <a:cxnSpLocks/>
            <a:stCxn id="59" idx="2"/>
            <a:endCxn id="60" idx="2"/>
          </p:cNvCxnSpPr>
          <p:nvPr/>
        </p:nvCxnSpPr>
        <p:spPr>
          <a:xfrm rot="10800000" flipH="1" flipV="1">
            <a:off x="6852288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45">
            <a:extLst>
              <a:ext uri="{FF2B5EF4-FFF2-40B4-BE49-F238E27FC236}">
                <a16:creationId xmlns:a16="http://schemas.microsoft.com/office/drawing/2014/main" id="{7A50D906-639B-4F20-895A-E56E8A2F8918}"/>
              </a:ext>
            </a:extLst>
          </p:cNvPr>
          <p:cNvCxnSpPr>
            <a:cxnSpLocks/>
            <a:stCxn id="59" idx="2"/>
            <a:endCxn id="61" idx="2"/>
          </p:cNvCxnSpPr>
          <p:nvPr/>
        </p:nvCxnSpPr>
        <p:spPr>
          <a:xfrm rot="10800000" flipH="1" flipV="1">
            <a:off x="6852288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46">
            <a:extLst>
              <a:ext uri="{FF2B5EF4-FFF2-40B4-BE49-F238E27FC236}">
                <a16:creationId xmlns:a16="http://schemas.microsoft.com/office/drawing/2014/main" id="{2E8EBDA0-CEA2-4C7B-857F-599F39037B81}"/>
              </a:ext>
            </a:extLst>
          </p:cNvPr>
          <p:cNvSpPr/>
          <p:nvPr/>
        </p:nvSpPr>
        <p:spPr>
          <a:xfrm>
            <a:off x="6520212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Oval 47">
            <a:extLst>
              <a:ext uri="{FF2B5EF4-FFF2-40B4-BE49-F238E27FC236}">
                <a16:creationId xmlns:a16="http://schemas.microsoft.com/office/drawing/2014/main" id="{E8A199F8-C841-4529-BA30-699B96B16DED}"/>
              </a:ext>
            </a:extLst>
          </p:cNvPr>
          <p:cNvSpPr/>
          <p:nvPr/>
        </p:nvSpPr>
        <p:spPr>
          <a:xfrm>
            <a:off x="7333190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Oval 48">
            <a:extLst>
              <a:ext uri="{FF2B5EF4-FFF2-40B4-BE49-F238E27FC236}">
                <a16:creationId xmlns:a16="http://schemas.microsoft.com/office/drawing/2014/main" id="{2BEC8467-23A1-4CFC-BFCE-1383ECB0A7BD}"/>
              </a:ext>
            </a:extLst>
          </p:cNvPr>
          <p:cNvSpPr/>
          <p:nvPr/>
        </p:nvSpPr>
        <p:spPr>
          <a:xfrm>
            <a:off x="7333190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Oval 49">
            <a:extLst>
              <a:ext uri="{FF2B5EF4-FFF2-40B4-BE49-F238E27FC236}">
                <a16:creationId xmlns:a16="http://schemas.microsoft.com/office/drawing/2014/main" id="{6F449461-D626-4F4A-A5B9-452A8D2903AA}"/>
              </a:ext>
            </a:extLst>
          </p:cNvPr>
          <p:cNvSpPr/>
          <p:nvPr/>
        </p:nvSpPr>
        <p:spPr>
          <a:xfrm>
            <a:off x="6852288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Oval 50">
            <a:extLst>
              <a:ext uri="{FF2B5EF4-FFF2-40B4-BE49-F238E27FC236}">
                <a16:creationId xmlns:a16="http://schemas.microsoft.com/office/drawing/2014/main" id="{9728F3B6-94A4-47B6-8C2C-B3F52397DF90}"/>
              </a:ext>
            </a:extLst>
          </p:cNvPr>
          <p:cNvSpPr/>
          <p:nvPr/>
        </p:nvSpPr>
        <p:spPr>
          <a:xfrm>
            <a:off x="7333190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Oval 51">
            <a:extLst>
              <a:ext uri="{FF2B5EF4-FFF2-40B4-BE49-F238E27FC236}">
                <a16:creationId xmlns:a16="http://schemas.microsoft.com/office/drawing/2014/main" id="{CECD612A-9766-4A55-86EA-8C4A1F50DA1C}"/>
              </a:ext>
            </a:extLst>
          </p:cNvPr>
          <p:cNvSpPr/>
          <p:nvPr/>
        </p:nvSpPr>
        <p:spPr>
          <a:xfrm>
            <a:off x="7333190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Oval 52">
            <a:extLst>
              <a:ext uri="{FF2B5EF4-FFF2-40B4-BE49-F238E27FC236}">
                <a16:creationId xmlns:a16="http://schemas.microsoft.com/office/drawing/2014/main" id="{6E05142A-6F83-425E-96C8-385291A504C2}"/>
              </a:ext>
            </a:extLst>
          </p:cNvPr>
          <p:cNvSpPr/>
          <p:nvPr/>
        </p:nvSpPr>
        <p:spPr>
          <a:xfrm>
            <a:off x="6852288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3" name="Connector: Elbow 53">
            <a:extLst>
              <a:ext uri="{FF2B5EF4-FFF2-40B4-BE49-F238E27FC236}">
                <a16:creationId xmlns:a16="http://schemas.microsoft.com/office/drawing/2014/main" id="{58161BC0-4A37-4A9D-9532-DCC329AE9465}"/>
              </a:ext>
            </a:extLst>
          </p:cNvPr>
          <p:cNvCxnSpPr>
            <a:cxnSpLocks/>
            <a:stCxn id="56" idx="2"/>
            <a:endCxn id="62" idx="2"/>
          </p:cNvCxnSpPr>
          <p:nvPr/>
        </p:nvCxnSpPr>
        <p:spPr>
          <a:xfrm rot="10800000" flipH="1" flipV="1">
            <a:off x="6520212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40">
            <a:extLst>
              <a:ext uri="{FF2B5EF4-FFF2-40B4-BE49-F238E27FC236}">
                <a16:creationId xmlns:a16="http://schemas.microsoft.com/office/drawing/2014/main" id="{ED35EB35-A2D4-47EB-B714-BB760F562F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129144" y="1155282"/>
            <a:ext cx="57967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zitivní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y u dětí 12-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 l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.6. – 20.6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a pravděpodobně ve škole*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kladem pro souhrn jsou konečné výsledky testů hlášené na individuální bázi do centrálního systému ISIN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13533972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 - celkový </a:t>
            </a:r>
            <a:r>
              <a:rPr lang="cs-CZ" dirty="0" smtClean="0"/>
              <a:t>přehled včetně </a:t>
            </a:r>
            <a:r>
              <a:rPr lang="cs-CZ" dirty="0" err="1" smtClean="0"/>
              <a:t>neuzařeného</a:t>
            </a:r>
            <a:r>
              <a:rPr lang="cs-CZ" dirty="0" smtClean="0"/>
              <a:t> hlášení v novém týdnu </a:t>
            </a:r>
            <a:endParaRPr lang="cs-CZ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40657" y="4758274"/>
            <a:ext cx="114568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i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m šetření KHS je potvrzen kolektiv ŠKOLA, v trasování jde o primární </a:t>
            </a:r>
            <a:r>
              <a:rPr kumimoji="0" lang="cs-CZ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ípady (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ěti nejsou uvedeny jako kontakt jiného pozitivního případu)</a:t>
            </a:r>
          </a:p>
        </p:txBody>
      </p:sp>
      <p:sp>
        <p:nvSpPr>
          <p:cNvPr id="34" name="TextovéPole 33"/>
          <p:cNvSpPr txBox="1"/>
          <p:nvPr>
            <p:custDataLst>
              <p:tags r:id="rId3"/>
            </p:custDataLst>
          </p:nvPr>
        </p:nvSpPr>
        <p:spPr>
          <a:xfrm>
            <a:off x="1579311" y="932964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kladem pro souhrn jsou konečné výsledky testů hlášené na individuální bázi do centrálního systému ISIN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de tedy o konečné počty potvrzených pozitivních diagnóz, včetně konfirmovaných AG testů. 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97C347A6-B9FE-48BC-905A-C128908CE81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/>
          </p:nvPr>
        </p:nvGraphicFramePr>
        <p:xfrm>
          <a:off x="340658" y="1996168"/>
          <a:ext cx="11600336" cy="26593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5021">
                  <a:extLst>
                    <a:ext uri="{9D8B030D-6E8A-4147-A177-3AD203B41FA5}">
                      <a16:colId xmlns:a16="http://schemas.microsoft.com/office/drawing/2014/main" val="1532030584"/>
                    </a:ext>
                  </a:extLst>
                </a:gridCol>
                <a:gridCol w="725021">
                  <a:extLst>
                    <a:ext uri="{9D8B030D-6E8A-4147-A177-3AD203B41FA5}">
                      <a16:colId xmlns:a16="http://schemas.microsoft.com/office/drawing/2014/main" val="268841287"/>
                    </a:ext>
                  </a:extLst>
                </a:gridCol>
                <a:gridCol w="725021">
                  <a:extLst>
                    <a:ext uri="{9D8B030D-6E8A-4147-A177-3AD203B41FA5}">
                      <a16:colId xmlns:a16="http://schemas.microsoft.com/office/drawing/2014/main" val="230760151"/>
                    </a:ext>
                  </a:extLst>
                </a:gridCol>
                <a:gridCol w="725021">
                  <a:extLst>
                    <a:ext uri="{9D8B030D-6E8A-4147-A177-3AD203B41FA5}">
                      <a16:colId xmlns:a16="http://schemas.microsoft.com/office/drawing/2014/main" val="2701203044"/>
                    </a:ext>
                  </a:extLst>
                </a:gridCol>
                <a:gridCol w="725021">
                  <a:extLst>
                    <a:ext uri="{9D8B030D-6E8A-4147-A177-3AD203B41FA5}">
                      <a16:colId xmlns:a16="http://schemas.microsoft.com/office/drawing/2014/main" val="2433656251"/>
                    </a:ext>
                  </a:extLst>
                </a:gridCol>
                <a:gridCol w="725021">
                  <a:extLst>
                    <a:ext uri="{9D8B030D-6E8A-4147-A177-3AD203B41FA5}">
                      <a16:colId xmlns:a16="http://schemas.microsoft.com/office/drawing/2014/main" val="2887063503"/>
                    </a:ext>
                  </a:extLst>
                </a:gridCol>
                <a:gridCol w="725021">
                  <a:extLst>
                    <a:ext uri="{9D8B030D-6E8A-4147-A177-3AD203B41FA5}">
                      <a16:colId xmlns:a16="http://schemas.microsoft.com/office/drawing/2014/main" val="482541141"/>
                    </a:ext>
                  </a:extLst>
                </a:gridCol>
                <a:gridCol w="725021">
                  <a:extLst>
                    <a:ext uri="{9D8B030D-6E8A-4147-A177-3AD203B41FA5}">
                      <a16:colId xmlns:a16="http://schemas.microsoft.com/office/drawing/2014/main" val="2151163"/>
                    </a:ext>
                  </a:extLst>
                </a:gridCol>
                <a:gridCol w="725021">
                  <a:extLst>
                    <a:ext uri="{9D8B030D-6E8A-4147-A177-3AD203B41FA5}">
                      <a16:colId xmlns:a16="http://schemas.microsoft.com/office/drawing/2014/main" val="926078334"/>
                    </a:ext>
                  </a:extLst>
                </a:gridCol>
                <a:gridCol w="725021">
                  <a:extLst>
                    <a:ext uri="{9D8B030D-6E8A-4147-A177-3AD203B41FA5}">
                      <a16:colId xmlns:a16="http://schemas.microsoft.com/office/drawing/2014/main" val="556818529"/>
                    </a:ext>
                  </a:extLst>
                </a:gridCol>
                <a:gridCol w="725021">
                  <a:extLst>
                    <a:ext uri="{9D8B030D-6E8A-4147-A177-3AD203B41FA5}">
                      <a16:colId xmlns:a16="http://schemas.microsoft.com/office/drawing/2014/main" val="792490786"/>
                    </a:ext>
                  </a:extLst>
                </a:gridCol>
                <a:gridCol w="725021">
                  <a:extLst>
                    <a:ext uri="{9D8B030D-6E8A-4147-A177-3AD203B41FA5}">
                      <a16:colId xmlns:a16="http://schemas.microsoft.com/office/drawing/2014/main" val="916395679"/>
                    </a:ext>
                  </a:extLst>
                </a:gridCol>
                <a:gridCol w="725021">
                  <a:extLst>
                    <a:ext uri="{9D8B030D-6E8A-4147-A177-3AD203B41FA5}">
                      <a16:colId xmlns:a16="http://schemas.microsoft.com/office/drawing/2014/main" val="3798192752"/>
                    </a:ext>
                  </a:extLst>
                </a:gridCol>
                <a:gridCol w="725021">
                  <a:extLst>
                    <a:ext uri="{9D8B030D-6E8A-4147-A177-3AD203B41FA5}">
                      <a16:colId xmlns:a16="http://schemas.microsoft.com/office/drawing/2014/main" val="408959814"/>
                    </a:ext>
                  </a:extLst>
                </a:gridCol>
                <a:gridCol w="725021">
                  <a:extLst>
                    <a:ext uri="{9D8B030D-6E8A-4147-A177-3AD203B41FA5}">
                      <a16:colId xmlns:a16="http://schemas.microsoft.com/office/drawing/2014/main" val="1194465795"/>
                    </a:ext>
                  </a:extLst>
                </a:gridCol>
                <a:gridCol w="725021">
                  <a:extLst>
                    <a:ext uri="{9D8B030D-6E8A-4147-A177-3AD203B41FA5}">
                      <a16:colId xmlns:a16="http://schemas.microsoft.com/office/drawing/2014/main" val="198148583"/>
                    </a:ext>
                  </a:extLst>
                </a:gridCol>
              </a:tblGrid>
              <a:tr h="52107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12.4.-20.6.</a:t>
                      </a:r>
                      <a:endParaRPr lang="cs-CZ" sz="1600" b="1" i="0" u="none" strike="noStrike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1.5.-31.5.</a:t>
                      </a:r>
                      <a:endParaRPr lang="cs-CZ" sz="1600" b="1" i="0" u="none" strike="noStrike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u="none" strike="noStrike">
                          <a:solidFill>
                            <a:schemeClr val="bg2"/>
                          </a:solidFill>
                          <a:effectLst/>
                        </a:rPr>
                        <a:t>1.6.-13.6.</a:t>
                      </a:r>
                      <a:endParaRPr lang="cs-CZ" sz="1600" b="1" i="0" u="none" strike="noStrike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14.6.-20.6.</a:t>
                      </a:r>
                      <a:endParaRPr lang="cs-CZ" sz="1600" b="1" i="0" u="none" strike="noStrike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600" b="1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.6</a:t>
                      </a:r>
                      <a:r>
                        <a:rPr lang="cs-CZ" sz="1600" b="1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**</a:t>
                      </a:r>
                      <a:endParaRPr lang="cs-CZ" sz="1600" b="1" u="none" strike="noStrike" kern="1200" dirty="0">
                        <a:solidFill>
                          <a:schemeClr val="bg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600" b="1" i="0" u="none" strike="noStrike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600" b="1" i="0" u="none" strike="noStrike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2893201"/>
                  </a:ext>
                </a:extLst>
              </a:tr>
              <a:tr h="53455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dirty="0">
                          <a:solidFill>
                            <a:srgbClr val="C00000"/>
                          </a:solidFill>
                        </a:rPr>
                        <a:t>všechny záchyty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dirty="0">
                          <a:solidFill>
                            <a:srgbClr val="C00000"/>
                          </a:solidFill>
                        </a:rPr>
                        <a:t>nákaza </a:t>
                      </a:r>
                      <a:r>
                        <a:rPr lang="cs-CZ" sz="900" b="1" dirty="0" err="1" smtClean="0">
                          <a:solidFill>
                            <a:srgbClr val="C00000"/>
                          </a:solidFill>
                        </a:rPr>
                        <a:t>pravděpod</a:t>
                      </a:r>
                      <a:r>
                        <a:rPr lang="cs-CZ" sz="900" b="1" dirty="0" smtClean="0">
                          <a:solidFill>
                            <a:srgbClr val="C00000"/>
                          </a:solidFill>
                        </a:rPr>
                        <a:t>. </a:t>
                      </a:r>
                      <a:r>
                        <a:rPr lang="cs-CZ" sz="900" b="1" dirty="0">
                          <a:solidFill>
                            <a:srgbClr val="C00000"/>
                          </a:solidFill>
                        </a:rPr>
                        <a:t>ve škole*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9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Podíl záchytů </a:t>
                      </a:r>
                      <a:endParaRPr lang="cs-CZ" sz="900" b="1" kern="1200" dirty="0" smtClean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cs-CZ" sz="900" b="1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ve </a:t>
                      </a:r>
                      <a:r>
                        <a:rPr lang="cs-CZ" sz="9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škol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dirty="0">
                          <a:solidFill>
                            <a:srgbClr val="C00000"/>
                          </a:solidFill>
                        </a:rPr>
                        <a:t>všechny záchyty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dirty="0" smtClean="0">
                          <a:solidFill>
                            <a:srgbClr val="C00000"/>
                          </a:solidFill>
                        </a:rPr>
                        <a:t>nákaza </a:t>
                      </a:r>
                      <a:r>
                        <a:rPr lang="cs-CZ" sz="900" b="1" dirty="0" err="1" smtClean="0">
                          <a:solidFill>
                            <a:srgbClr val="C00000"/>
                          </a:solidFill>
                        </a:rPr>
                        <a:t>pravděpod</a:t>
                      </a:r>
                      <a:r>
                        <a:rPr lang="cs-CZ" sz="900" b="1" dirty="0" smtClean="0">
                          <a:solidFill>
                            <a:srgbClr val="C00000"/>
                          </a:solidFill>
                        </a:rPr>
                        <a:t>. ve škole*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9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podíl záchytů ve škol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dirty="0">
                          <a:solidFill>
                            <a:srgbClr val="C00000"/>
                          </a:solidFill>
                        </a:rPr>
                        <a:t>všechny záchyty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dirty="0" smtClean="0">
                          <a:solidFill>
                            <a:srgbClr val="C00000"/>
                          </a:solidFill>
                        </a:rPr>
                        <a:t>nákaza </a:t>
                      </a:r>
                      <a:r>
                        <a:rPr lang="cs-CZ" sz="900" b="1" dirty="0" err="1" smtClean="0">
                          <a:solidFill>
                            <a:srgbClr val="C00000"/>
                          </a:solidFill>
                        </a:rPr>
                        <a:t>pravděpod</a:t>
                      </a:r>
                      <a:r>
                        <a:rPr lang="cs-CZ" sz="900" b="1" dirty="0" smtClean="0">
                          <a:solidFill>
                            <a:srgbClr val="C00000"/>
                          </a:solidFill>
                        </a:rPr>
                        <a:t>. ve škole*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9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podíl záchytů ve škol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dirty="0">
                          <a:solidFill>
                            <a:srgbClr val="C00000"/>
                          </a:solidFill>
                        </a:rPr>
                        <a:t>všechny záchyty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dirty="0" smtClean="0">
                          <a:solidFill>
                            <a:srgbClr val="C00000"/>
                          </a:solidFill>
                        </a:rPr>
                        <a:t>nákaza </a:t>
                      </a:r>
                      <a:r>
                        <a:rPr lang="cs-CZ" sz="900" b="1" dirty="0" err="1" smtClean="0">
                          <a:solidFill>
                            <a:srgbClr val="C00000"/>
                          </a:solidFill>
                        </a:rPr>
                        <a:t>pravděpod</a:t>
                      </a:r>
                      <a:r>
                        <a:rPr lang="cs-CZ" sz="900" b="1" dirty="0" smtClean="0">
                          <a:solidFill>
                            <a:srgbClr val="C00000"/>
                          </a:solidFill>
                        </a:rPr>
                        <a:t>. ve škole*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9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podíl záchytů ve škol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dirty="0">
                          <a:solidFill>
                            <a:srgbClr val="C00000"/>
                          </a:solidFill>
                        </a:rPr>
                        <a:t>všechny záchyty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dirty="0" smtClean="0">
                          <a:solidFill>
                            <a:srgbClr val="C00000"/>
                          </a:solidFill>
                        </a:rPr>
                        <a:t>nákaza </a:t>
                      </a:r>
                      <a:r>
                        <a:rPr lang="cs-CZ" sz="900" b="1" dirty="0" err="1" smtClean="0">
                          <a:solidFill>
                            <a:srgbClr val="C00000"/>
                          </a:solidFill>
                        </a:rPr>
                        <a:t>pravděpod</a:t>
                      </a:r>
                      <a:r>
                        <a:rPr lang="cs-CZ" sz="900" b="1" dirty="0" smtClean="0">
                          <a:solidFill>
                            <a:srgbClr val="C00000"/>
                          </a:solidFill>
                        </a:rPr>
                        <a:t>. ve škole*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9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podíl záchytů ve škole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97575054"/>
                  </a:ext>
                </a:extLst>
              </a:tr>
              <a:tr h="53455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5-11 let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6965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2114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30.4%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2590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978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37.8%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298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119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39.9%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73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30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41.1%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.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44131760"/>
                  </a:ext>
                </a:extLst>
              </a:tr>
              <a:tr h="53455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12-15 let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4268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867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20.3%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1599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356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22.3%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273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90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33.0%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66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22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33.3%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001612"/>
                  </a:ext>
                </a:extLst>
              </a:tr>
              <a:tr h="53455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16-19 let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3594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129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3.6%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1149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35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3.0%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272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26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9.6%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75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5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6.7%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5095751"/>
                  </a:ext>
                </a:extLst>
              </a:tr>
            </a:tbl>
          </a:graphicData>
        </a:graphic>
      </p:graphicFrame>
      <p:sp>
        <p:nvSpPr>
          <p:cNvPr id="6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0657" y="5138069"/>
            <a:ext cx="111879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běžná data, bez uzavřeného sledování a kompletního šetření KHS 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9729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769310"/>
            <a:ext cx="11905307" cy="1802816"/>
          </a:xfrm>
        </p:spPr>
        <p:txBody>
          <a:bodyPr>
            <a:normAutofit/>
          </a:bodyPr>
          <a:lstStyle/>
          <a:p>
            <a:r>
              <a:rPr lang="cs-CZ" sz="4000" b="1" dirty="0"/>
              <a:t>Celkové počty nově potvrzených případů </a:t>
            </a:r>
          </a:p>
          <a:p>
            <a:r>
              <a:rPr lang="cs-CZ" sz="4000" b="1" dirty="0"/>
              <a:t>dětí v populaci</a:t>
            </a:r>
            <a:endParaRPr lang="cs-CZ" sz="4000" i="1" dirty="0"/>
          </a:p>
        </p:txBody>
      </p:sp>
    </p:spTree>
    <p:extLst>
      <p:ext uri="{BB962C8B-B14F-4D97-AF65-F5344CB8AC3E}">
        <p14:creationId xmlns:p14="http://schemas.microsoft.com/office/powerpoint/2010/main" val="32456629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0136339"/>
              </p:ext>
            </p:extLst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43257" y="1468996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2299300" y="1825001"/>
            <a:ext cx="0" cy="8025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215" y="697003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ětí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599287" y="2092965"/>
            <a:ext cx="245727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otevřeny MŠ pro předškolní děti, návrat 1. stupně</a:t>
            </a:r>
            <a:r>
              <a:rPr kumimoji="0" lang="cs-CZ" sz="12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Š v rotačním režimu</a:t>
            </a:r>
            <a:endParaRPr kumimoji="0" 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088470" y="2975133"/>
            <a:ext cx="0" cy="7328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19">
            <a:extLst>
              <a:ext uri="{FF2B5EF4-FFF2-40B4-BE49-F238E27FC236}">
                <a16:creationId xmlns:a16="http://schemas.microsoft.com/office/drawing/2014/main" id="{EC83A386-1D77-43BD-98DD-1074CDE32BD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833519" y="1559490"/>
            <a:ext cx="419520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</a:t>
            </a:r>
            <a:r>
              <a:rPr lang="cs-CZ" sz="1200" b="1" i="1" dirty="0">
                <a:solidFill>
                  <a:srgbClr val="000000"/>
                </a:solidFill>
              </a:rPr>
              <a:t>26. 4. MŠ otevřeny zcela, SŠ a VOŠ praktické vyučování v PLK, HKK, KVK </a:t>
            </a:r>
            <a:br>
              <a:rPr lang="cs-CZ" sz="1200" b="1" i="1" dirty="0">
                <a:solidFill>
                  <a:srgbClr val="000000"/>
                </a:solidFill>
              </a:rPr>
            </a:br>
            <a:r>
              <a:rPr lang="cs-CZ" sz="1200" b="1" i="1" dirty="0">
                <a:solidFill>
                  <a:srgbClr val="000000"/>
                </a:solidFill>
              </a:rPr>
              <a:t>od 3. 5. dále STC, LBK, PAK, PHA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 s rozšířením rotační výuky 2. st. ZŠ a od 10. 5. ve zbývajících krajích</a:t>
            </a:r>
            <a:endParaRPr lang="cs-CZ" sz="1200" b="1" i="1" dirty="0">
              <a:solidFill>
                <a:srgbClr val="000000"/>
              </a:solidFill>
            </a:endParaRPr>
          </a:p>
        </p:txBody>
      </p: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0EA45419-FFE6-41F1-9778-325DBC06FC41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099359" y="2461112"/>
            <a:ext cx="0" cy="16247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931B54ED-96B8-4B0B-88B2-56F3421552F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6546998" y="2461111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16BF9B4A-EA00-4154-9ADA-5E9222B2A3C2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7014276" y="2461111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bdélník 24">
            <a:extLst>
              <a:ext uri="{FF2B5EF4-FFF2-40B4-BE49-F238E27FC236}">
                <a16:creationId xmlns:a16="http://schemas.microsoft.com/office/drawing/2014/main" id="{4A04FA6A-EEB4-4FF4-9BD1-4386B1D6021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7481554" y="2587475"/>
            <a:ext cx="1715973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cs-CZ" sz="1200" b="1" i="1" dirty="0">
                <a:solidFill>
                  <a:srgbClr val="000000"/>
                </a:solidFill>
              </a:rPr>
              <a:t>Od 24. 5. otevřeny ZŠ, SŠ, VOŠ a VŠ bez rotací v celé ČR</a:t>
            </a:r>
          </a:p>
        </p:txBody>
      </p: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71FE04E3-67E6-4683-92EE-30E00135062E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7943888" y="3248526"/>
            <a:ext cx="0" cy="18085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71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Graf 16">
            <a:extLst>
              <a:ext uri="{FF2B5EF4-FFF2-40B4-BE49-F238E27FC236}">
                <a16:creationId xmlns:a16="http://schemas.microsoft.com/office/drawing/2014/main" id="{82435891-AD00-4FB1-A73A-2B68645AA38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3252152"/>
              </p:ext>
            </p:extLst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31" name="Graf 16">
            <a:extLst>
              <a:ext uri="{FF2B5EF4-FFF2-40B4-BE49-F238E27FC236}">
                <a16:creationId xmlns:a16="http://schemas.microsoft.com/office/drawing/2014/main" id="{7266C885-8B68-464B-99FA-0474E08AA17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6070662"/>
              </p:ext>
            </p:extLst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testů na 100 tis. dětí v čase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tis. dět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v dané věkové skupině za dané časové období (suma za celý časový úsek)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 rot="16200000">
            <a:off x="-35890" y="160091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esty</a:t>
            </a: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s diagnostickou</a:t>
            </a:r>
            <a:r>
              <a:rPr kumimoji="0" lang="cs-CZ" sz="18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nebo klinickou indikací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65129197"/>
              </p:ext>
            </p:extLst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98863941"/>
              </p:ext>
            </p:extLst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782390709"/>
              </p:ext>
            </p:extLst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509746694"/>
              </p:ext>
            </p:extLst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7A93131A-8E01-44B7-A2A2-A1EFEC4360B8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407492" y="5548412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505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82487157-9490-45CB-A4BF-887D09526716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992129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414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E8AD0D1D-DDE7-45FA-A69D-268EA000744F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414538" y="2555522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3 579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191FCF-0AC0-4145-960F-283F6CCEFCEF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876412" y="2513080"/>
            <a:ext cx="81606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5 939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685E3DA0-21F5-4650-971E-957CCD67CF9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0876413" y="5606287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5 677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6A804B45-F645-487E-B6EF-5C2CC8EDA31D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334250" y="5608432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1 422</a:t>
            </a:r>
          </a:p>
        </p:txBody>
      </p:sp>
    </p:spTree>
    <p:extLst>
      <p:ext uri="{BB962C8B-B14F-4D97-AF65-F5344CB8AC3E}">
        <p14:creationId xmlns:p14="http://schemas.microsoft.com/office/powerpoint/2010/main" val="25380028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nově COVID-19 pozitivních na 100 testů u dětí v čas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11743116"/>
              </p:ext>
            </p:extLst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30269938"/>
              </p:ext>
            </p:extLst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32" name="Graf 16">
            <a:extLst>
              <a:ext uri="{FF2B5EF4-FFF2-40B4-BE49-F238E27FC236}">
                <a16:creationId xmlns:a16="http://schemas.microsoft.com/office/drawing/2014/main" id="{0D0112F6-E60E-4310-AF92-E2A52E7E4780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24626802"/>
              </p:ext>
            </p:extLst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52673098"/>
              </p:ext>
            </p:extLst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6" name="Graf 16">
            <a:extLst>
              <a:ext uri="{FF2B5EF4-FFF2-40B4-BE49-F238E27FC236}">
                <a16:creationId xmlns:a16="http://schemas.microsoft.com/office/drawing/2014/main" id="{6DEB7949-763A-40DA-B63C-FE897037DA76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85183276"/>
              </p:ext>
            </p:extLst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89373152"/>
              </p:ext>
            </p:extLst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tis. dět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v dané věkové skupině za dané časové období (suma za celý časový úsek)</a:t>
            </a:r>
          </a:p>
        </p:txBody>
      </p:sp>
      <p:sp>
        <p:nvSpPr>
          <p:cNvPr id="30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31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-46432" y="172402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esty</a:t>
            </a: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s diagnostickou</a:t>
            </a:r>
            <a:r>
              <a:rPr kumimoji="0" lang="cs-CZ" sz="18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nebo klinickou indikací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FA38CA7A-D28B-46A9-87B8-EC306DC2D59B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117443" y="5542294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505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477A2F67-D736-41B6-9CB6-3E8926373D5F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2943094" y="2506962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414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2029D81-89F0-441A-AFF8-C74A5226D407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365503" y="2549404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3 579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8CBF51B9-2DC2-4D0A-911C-74FB74D794E1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9827377" y="2506962"/>
            <a:ext cx="81606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5 939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B5258CA8-9B02-4C0D-BCC5-3D2D14D8E42A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9827378" y="5600169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5 677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A7B3ECE6-9166-4070-A6E2-4511A19A90FD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6285215" y="5602314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1 422</a:t>
            </a:r>
          </a:p>
        </p:txBody>
      </p:sp>
    </p:spTree>
    <p:extLst>
      <p:ext uri="{BB962C8B-B14F-4D97-AF65-F5344CB8AC3E}">
        <p14:creationId xmlns:p14="http://schemas.microsoft.com/office/powerpoint/2010/main" val="31149241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3320578"/>
            <a:ext cx="8050306" cy="3325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2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0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4 </a:t>
            </a:r>
            <a:r>
              <a:rPr lang="en-US" sz="2000" dirty="0" smtClean="0">
                <a:latin typeface="+mn-lt"/>
              </a:rPr>
              <a:t>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69001535"/>
              </p:ext>
            </p:extLst>
          </p:nvPr>
        </p:nvGraphicFramePr>
        <p:xfrm>
          <a:off x="5037332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0" name="TextovéPole 19">
            <a:extLst>
              <a:ext uri="{FF2B5EF4-FFF2-40B4-BE49-F238E27FC236}">
                <a16:creationId xmlns:a16="http://schemas.microsoft.com/office/drawing/2014/main" id="{8402AE3F-0527-47EC-A054-0F2CB5E32C7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827601" y="1684004"/>
            <a:ext cx="305230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ýšený 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registruje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dubický kraj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Jde avšak o velmi nízký výskyt (&lt;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,5/100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s. dětí daného věku za 7 dní). </a:t>
            </a:r>
          </a:p>
          <a:p>
            <a:pPr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 posledním hodnoceném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dobí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3.6. -&gt; 21.6.) je patrný mírný nárůst v JČK, PAK a HMP. </a:t>
            </a: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44542674"/>
              </p:ext>
            </p:extLst>
          </p:nvPr>
        </p:nvGraphicFramePr>
        <p:xfrm>
          <a:off x="71824" y="1253263"/>
          <a:ext cx="4483551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3" name="Rectangle 14">
            <a:extLst>
              <a:ext uri="{FF2B5EF4-FFF2-40B4-BE49-F238E27FC236}">
                <a16:creationId xmlns:a16="http://schemas.microsoft.com/office/drawing/2014/main" id="{9FFFB5A6-4A47-452D-A424-DD9D4E39D60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ectangle 15">
            <a:extLst>
              <a:ext uri="{FF2B5EF4-FFF2-40B4-BE49-F238E27FC236}">
                <a16:creationId xmlns:a16="http://schemas.microsoft.com/office/drawing/2014/main" id="{C2493D9B-F68B-4B31-9578-AA2A66C4FEC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TextBox 16">
            <a:extLst>
              <a:ext uri="{FF2B5EF4-FFF2-40B4-BE49-F238E27FC236}">
                <a16:creationId xmlns:a16="http://schemas.microsoft.com/office/drawing/2014/main" id="{EAAFE3DA-BE1A-4CD3-A7A2-FE640A8EE5D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344965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36" name="Rectangle 20">
            <a:extLst>
              <a:ext uri="{FF2B5EF4-FFF2-40B4-BE49-F238E27FC236}">
                <a16:creationId xmlns:a16="http://schemas.microsoft.com/office/drawing/2014/main" id="{4172C461-2F91-4563-BC1F-DE2416A0639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TextBox 21">
            <a:extLst>
              <a:ext uri="{FF2B5EF4-FFF2-40B4-BE49-F238E27FC236}">
                <a16:creationId xmlns:a16="http://schemas.microsoft.com/office/drawing/2014/main" id="{BC7D19BE-A381-42AF-9169-3AB2D58C2FB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80324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38" name="Rectangle 20">
            <a:extLst>
              <a:ext uri="{FF2B5EF4-FFF2-40B4-BE49-F238E27FC236}">
                <a16:creationId xmlns:a16="http://schemas.microsoft.com/office/drawing/2014/main" id="{E1C0A4B3-54A7-4851-AFF9-57759430899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84268" y="895398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21">
            <a:extLst>
              <a:ext uri="{FF2B5EF4-FFF2-40B4-BE49-F238E27FC236}">
                <a16:creationId xmlns:a16="http://schemas.microsoft.com/office/drawing/2014/main" id="{9379B82B-9E83-4E3C-BA4B-7F56AB8F154B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 smtClean="0">
                <a:solidFill>
                  <a:srgbClr val="000000"/>
                </a:solidFill>
                <a:latin typeface="Arial" panose="020B0604020202020204"/>
              </a:rPr>
              <a:t>22</a:t>
            </a: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lang="cs-CZ" sz="1400" dirty="0" smtClean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TextBox 21">
            <a:extLst>
              <a:ext uri="{FF2B5EF4-FFF2-40B4-BE49-F238E27FC236}">
                <a16:creationId xmlns:a16="http://schemas.microsoft.com/office/drawing/2014/main" id="{1916B0BA-4DAA-400E-BFB6-0D391770128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39032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</p:spTree>
    <p:extLst>
      <p:ext uri="{BB962C8B-B14F-4D97-AF65-F5344CB8AC3E}">
        <p14:creationId xmlns:p14="http://schemas.microsoft.com/office/powerpoint/2010/main" val="429402531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1475" y="4035286"/>
            <a:ext cx="8050306" cy="3143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2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5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1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6FB5FCE5-711C-4C26-8879-27C613FC76D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833674"/>
              </p:ext>
            </p:extLst>
          </p:nvPr>
        </p:nvGraphicFramePr>
        <p:xfrm>
          <a:off x="4849396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C3199B8A-F6F3-4DFE-BF90-70294CC448A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729748" y="1795336"/>
            <a:ext cx="3270777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ýšený 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registrují kraje </a:t>
            </a:r>
          </a:p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berecký a Jihočeský. Jde avšak o velmi nízký výskyt (&lt; 25/100 tis. dětí daného věku za 7 dní). </a:t>
            </a:r>
          </a:p>
          <a:p>
            <a:pPr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 posledním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dnoceném období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3.6. -&gt; 21.6.) je patrný mírný nárůst v LBK.</a:t>
            </a:r>
          </a:p>
          <a:p>
            <a:pPr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62213505"/>
              </p:ext>
            </p:extLst>
          </p:nvPr>
        </p:nvGraphicFramePr>
        <p:xfrm>
          <a:off x="55986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6" name="Rectangle 14">
            <a:extLst>
              <a:ext uri="{FF2B5EF4-FFF2-40B4-BE49-F238E27FC236}">
                <a16:creationId xmlns:a16="http://schemas.microsoft.com/office/drawing/2014/main" id="{6BE5DB9C-8995-4D3A-995A-40A3A004396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15">
            <a:extLst>
              <a:ext uri="{FF2B5EF4-FFF2-40B4-BE49-F238E27FC236}">
                <a16:creationId xmlns:a16="http://schemas.microsoft.com/office/drawing/2014/main" id="{7F8E697F-ED3A-4A74-9CB1-2FBF5A8A889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6">
            <a:extLst>
              <a:ext uri="{FF2B5EF4-FFF2-40B4-BE49-F238E27FC236}">
                <a16:creationId xmlns:a16="http://schemas.microsoft.com/office/drawing/2014/main" id="{919AD40C-ADA1-4760-B938-AF56C1C657F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344965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5" name="Rectangle 20">
            <a:extLst>
              <a:ext uri="{FF2B5EF4-FFF2-40B4-BE49-F238E27FC236}">
                <a16:creationId xmlns:a16="http://schemas.microsoft.com/office/drawing/2014/main" id="{346F50B9-F035-4B94-9223-99A158F6D35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1">
            <a:extLst>
              <a:ext uri="{FF2B5EF4-FFF2-40B4-BE49-F238E27FC236}">
                <a16:creationId xmlns:a16="http://schemas.microsoft.com/office/drawing/2014/main" id="{96A97C59-69C7-40F6-8240-4D708460791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80324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31" name="Rectangle 20">
            <a:extLst>
              <a:ext uri="{FF2B5EF4-FFF2-40B4-BE49-F238E27FC236}">
                <a16:creationId xmlns:a16="http://schemas.microsoft.com/office/drawing/2014/main" id="{A55801FD-B1B2-49EB-A2C1-08D97E156CB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617126" y="914836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Box 21">
            <a:extLst>
              <a:ext uri="{FF2B5EF4-FFF2-40B4-BE49-F238E27FC236}">
                <a16:creationId xmlns:a16="http://schemas.microsoft.com/office/drawing/2014/main" id="{357566DE-C488-479D-B88D-84425BAC053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 smtClean="0">
                <a:solidFill>
                  <a:srgbClr val="000000"/>
                </a:solidFill>
                <a:latin typeface="Arial" panose="020B0604020202020204"/>
              </a:rPr>
              <a:t>22</a:t>
            </a: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lang="cs-CZ" sz="1400" dirty="0" smtClean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21">
            <a:extLst>
              <a:ext uri="{FF2B5EF4-FFF2-40B4-BE49-F238E27FC236}">
                <a16:creationId xmlns:a16="http://schemas.microsoft.com/office/drawing/2014/main" id="{BDA4EAA4-EC0B-4B7D-8D51-5653FCA4D4B4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39032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</p:spTree>
    <p:extLst>
      <p:ext uri="{BB962C8B-B14F-4D97-AF65-F5344CB8AC3E}">
        <p14:creationId xmlns:p14="http://schemas.microsoft.com/office/powerpoint/2010/main" val="25378419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Kumulativní počet testů provedených přímo ve školách 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6200" y="648748"/>
            <a:ext cx="73116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23. 6. 2021 18:00 -&gt; celkový přehled bez dělení dle věkových skupin žáků</a:t>
            </a:r>
            <a:endParaRPr lang="cs-CZ" sz="1400" i="1" dirty="0"/>
          </a:p>
        </p:txBody>
      </p:sp>
      <p:graphicFrame>
        <p:nvGraphicFramePr>
          <p:cNvPr id="10" name="Graf 16">
            <a:extLst>
              <a:ext uri="{FF2B5EF4-FFF2-40B4-BE49-F238E27FC236}">
                <a16:creationId xmlns:a16="http://schemas.microsoft.com/office/drawing/2014/main" id="{3A451FDC-44C3-49C1-9378-D6D6BC55CE2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93889476"/>
              </p:ext>
            </p:extLst>
          </p:nvPr>
        </p:nvGraphicFramePr>
        <p:xfrm>
          <a:off x="559687" y="1099751"/>
          <a:ext cx="11460862" cy="5426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Obdélník 11">
            <a:extLst>
              <a:ext uri="{FF2B5EF4-FFF2-40B4-BE49-F238E27FC236}">
                <a16:creationId xmlns:a16="http://schemas.microsoft.com/office/drawing/2014/main" id="{4E11FDD2-C553-4CA5-95B2-1ADDA689894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-2018131" y="3390256"/>
            <a:ext cx="45865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K</a:t>
            </a: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umulativní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počet provedených testů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559DA486-5B4D-4CF3-B2A1-103CD2BC1928}"/>
              </a:ext>
            </a:extLst>
          </p:cNvPr>
          <p:cNvGrpSpPr/>
          <p:nvPr/>
        </p:nvGrpSpPr>
        <p:grpSpPr>
          <a:xfrm>
            <a:off x="1655097" y="1583258"/>
            <a:ext cx="2057077" cy="777412"/>
            <a:chOff x="1655097" y="1583258"/>
            <a:chExt cx="2057077" cy="777412"/>
          </a:xfrm>
        </p:grpSpPr>
        <p:sp>
          <p:nvSpPr>
            <p:cNvPr id="12" name="TextBox 4">
              <a:extLst>
                <a:ext uri="{FF2B5EF4-FFF2-40B4-BE49-F238E27FC236}">
                  <a16:creationId xmlns:a16="http://schemas.microsoft.com/office/drawing/2014/main" id="{92C0E3F8-2447-4A01-AEF4-0B4F66FC9508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2475415" y="1583258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400" i="1" dirty="0">
                  <a:solidFill>
                    <a:srgbClr val="000000"/>
                  </a:solidFill>
                </a:rPr>
                <a:t>Žáci</a:t>
              </a:r>
              <a:endParaRPr lang="cs-CZ" sz="1400" i="1" dirty="0"/>
            </a:p>
          </p:txBody>
        </p:sp>
        <p:sp>
          <p:nvSpPr>
            <p:cNvPr id="13" name="TextBox 4">
              <a:extLst>
                <a:ext uri="{FF2B5EF4-FFF2-40B4-BE49-F238E27FC236}">
                  <a16:creationId xmlns:a16="http://schemas.microsoft.com/office/drawing/2014/main" id="{8E946716-5D4D-4616-9BBC-6ABF19E8568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75415" y="2052893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400" i="1" dirty="0"/>
                <a:t>Zaměstnanci</a:t>
              </a:r>
            </a:p>
          </p:txBody>
        </p: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802A874-F297-42E0-8C76-702FD285E353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>
            <a:xfrm>
              <a:off x="1655097" y="1746056"/>
              <a:ext cx="620559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816A37-A9CE-41EA-87A4-E63CEBE7D94E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>
            <a:xfrm>
              <a:off x="1655097" y="2206782"/>
              <a:ext cx="620559" cy="0"/>
            </a:xfrm>
            <a:prstGeom prst="line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8804267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4023752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2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12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9 let</a:t>
            </a:r>
            <a:endParaRPr lang="cs-CZ" sz="2000" dirty="0"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45322162"/>
              </p:ext>
            </p:extLst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9" name="TextBox 16">
            <a:extLst>
              <a:ext uri="{FF2B5EF4-FFF2-40B4-BE49-F238E27FC236}">
                <a16:creationId xmlns:a16="http://schemas.microsoft.com/office/drawing/2014/main" id="{49DD5679-FB51-41D3-B6F9-89ECAD0AA80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AA2AF1B9-964B-4451-BED5-A91D3BA022D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07B47C78-2DF9-4B3E-BB33-B6B7E6F42C8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2FD59DF9-D173-45BA-A7B7-9793ED6E471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C06A69B2-B455-46C3-AAF9-9E1582D02E8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28197353-E87D-4843-92C6-B53E5C792A3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950B1CED-E1EB-4514-A55F-35A58766637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AC523703-45E9-42CF-9603-6A0CE7BB9CA8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2.</a:t>
            </a:r>
            <a:r>
              <a:rPr lang="cs-CZ" sz="1400" dirty="0" smtClean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BB4D4F4-E08B-4EAC-A9E6-A9370CD80C35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8635356" y="1656287"/>
            <a:ext cx="3427591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čty nově nakažených dětí ve věku 12 – 19 let za sledované období ve všech krajích klesají. </a:t>
            </a: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írně zvýšený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registruje Liberecký kraj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7858920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val="42668786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3324858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1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12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</a:t>
            </a:r>
            <a:r>
              <a:rPr lang="cs-CZ" sz="2000" dirty="0">
                <a:latin typeface="+mn-lt"/>
              </a:rPr>
              <a:t>5</a:t>
            </a:r>
            <a:r>
              <a:rPr lang="en-US" sz="2000" dirty="0">
                <a:latin typeface="+mn-lt"/>
              </a:rPr>
              <a:t>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3BB4D4F4-E08B-4EAC-A9E6-A9370CD80C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639748" y="1871440"/>
            <a:ext cx="342759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 registruje kraj Moravskoslezský a Plzeňský. 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2" name="Rectangle 14">
            <a:extLst>
              <a:ext uri="{FF2B5EF4-FFF2-40B4-BE49-F238E27FC236}">
                <a16:creationId xmlns:a16="http://schemas.microsoft.com/office/drawing/2014/main" id="{9E17C7D9-2A44-418B-A194-187E9F452EE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15">
            <a:extLst>
              <a:ext uri="{FF2B5EF4-FFF2-40B4-BE49-F238E27FC236}">
                <a16:creationId xmlns:a16="http://schemas.microsoft.com/office/drawing/2014/main" id="{D4859556-B68A-4F23-9579-07D7B68ACE6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16">
            <a:extLst>
              <a:ext uri="{FF2B5EF4-FFF2-40B4-BE49-F238E27FC236}">
                <a16:creationId xmlns:a16="http://schemas.microsoft.com/office/drawing/2014/main" id="{A234FE2C-CC7D-47EA-90B6-9DE923D5AC0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344965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35" name="Rectangle 20">
            <a:extLst>
              <a:ext uri="{FF2B5EF4-FFF2-40B4-BE49-F238E27FC236}">
                <a16:creationId xmlns:a16="http://schemas.microsoft.com/office/drawing/2014/main" id="{0420EA72-4ADF-415F-AF81-F367D5CC205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21">
            <a:extLst>
              <a:ext uri="{FF2B5EF4-FFF2-40B4-BE49-F238E27FC236}">
                <a16:creationId xmlns:a16="http://schemas.microsoft.com/office/drawing/2014/main" id="{BA5FE030-749C-42E8-B17A-83464E0CC3E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80324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7F9128A7-5350-4C99-ABDE-6872BBCDAB8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8560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21">
            <a:extLst>
              <a:ext uri="{FF2B5EF4-FFF2-40B4-BE49-F238E27FC236}">
                <a16:creationId xmlns:a16="http://schemas.microsoft.com/office/drawing/2014/main" id="{8F130A09-7EF9-47DC-931F-CBFDD76CE47F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6.2021</a:t>
            </a:r>
          </a:p>
        </p:txBody>
      </p:sp>
      <p:sp>
        <p:nvSpPr>
          <p:cNvPr id="39" name="TextBox 21">
            <a:extLst>
              <a:ext uri="{FF2B5EF4-FFF2-40B4-BE49-F238E27FC236}">
                <a16:creationId xmlns:a16="http://schemas.microsoft.com/office/drawing/2014/main" id="{8C50F218-951C-4185-8491-81A374E9F46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39032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</p:spTree>
    <p:extLst>
      <p:ext uri="{BB962C8B-B14F-4D97-AF65-F5344CB8AC3E}">
        <p14:creationId xmlns:p14="http://schemas.microsoft.com/office/powerpoint/2010/main" val="384344284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2999415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21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1</a:t>
            </a:r>
            <a:r>
              <a:rPr lang="cs-CZ" sz="2000" dirty="0">
                <a:latin typeface="+mn-lt"/>
              </a:rPr>
              <a:t>6–</a:t>
            </a:r>
            <a:r>
              <a:rPr lang="en-US" sz="2000" dirty="0">
                <a:latin typeface="+mn-lt"/>
              </a:rPr>
              <a:t>19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3BB4D4F4-E08B-4EAC-A9E6-A9370CD80C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618787" y="2026442"/>
            <a:ext cx="342759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ýšený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denní počet pozitivních záchytů </a:t>
            </a:r>
            <a:b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100tis. dětí v této věkové kategorii registruj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ředevším Liberecký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raj a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ástečně též hlavní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ěsto Praha. 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2" name="Rectangle 14">
            <a:extLst>
              <a:ext uri="{FF2B5EF4-FFF2-40B4-BE49-F238E27FC236}">
                <a16:creationId xmlns:a16="http://schemas.microsoft.com/office/drawing/2014/main" id="{EA6A406A-C661-42B5-BBFC-33B92B97D48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15">
            <a:extLst>
              <a:ext uri="{FF2B5EF4-FFF2-40B4-BE49-F238E27FC236}">
                <a16:creationId xmlns:a16="http://schemas.microsoft.com/office/drawing/2014/main" id="{0D902561-A8EB-4750-9983-BF82DDBB28F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16">
            <a:extLst>
              <a:ext uri="{FF2B5EF4-FFF2-40B4-BE49-F238E27FC236}">
                <a16:creationId xmlns:a16="http://schemas.microsoft.com/office/drawing/2014/main" id="{651BC136-9277-4AE5-B516-D30F9EA2413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344965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35" name="Rectangle 20">
            <a:extLst>
              <a:ext uri="{FF2B5EF4-FFF2-40B4-BE49-F238E27FC236}">
                <a16:creationId xmlns:a16="http://schemas.microsoft.com/office/drawing/2014/main" id="{1347DB51-C0E1-455C-88FF-160C24502C4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21">
            <a:extLst>
              <a:ext uri="{FF2B5EF4-FFF2-40B4-BE49-F238E27FC236}">
                <a16:creationId xmlns:a16="http://schemas.microsoft.com/office/drawing/2014/main" id="{4445497F-A440-4CE6-AF64-9446D8160F9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580324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B4C9B785-1505-4FDA-B4D6-29AA09C42E7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603538" y="88613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21">
            <a:extLst>
              <a:ext uri="{FF2B5EF4-FFF2-40B4-BE49-F238E27FC236}">
                <a16:creationId xmlns:a16="http://schemas.microsoft.com/office/drawing/2014/main" id="{B708C462-AFD8-48C0-AD62-E8F4F8F0E1F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6.2021</a:t>
            </a:r>
          </a:p>
        </p:txBody>
      </p:sp>
      <p:sp>
        <p:nvSpPr>
          <p:cNvPr id="39" name="TextBox 21">
            <a:extLst>
              <a:ext uri="{FF2B5EF4-FFF2-40B4-BE49-F238E27FC236}">
                <a16:creationId xmlns:a16="http://schemas.microsoft.com/office/drawing/2014/main" id="{C11664E6-CBB7-4E5E-839F-F47B476661A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639032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6.2021</a:t>
            </a:r>
          </a:p>
        </p:txBody>
      </p:sp>
    </p:spTree>
    <p:extLst>
      <p:ext uri="{BB962C8B-B14F-4D97-AF65-F5344CB8AC3E}">
        <p14:creationId xmlns:p14="http://schemas.microsoft.com/office/powerpoint/2010/main" val="37288528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04775" y="39974"/>
            <a:ext cx="11953875" cy="6209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Testy</a:t>
            </a:r>
            <a:r>
              <a:rPr kumimoji="0" lang="cs-CZ" sz="28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 prováděné přímo ve školách jsou školami </a:t>
            </a:r>
            <a:r>
              <a:rPr kumimoji="0" lang="cs-CZ" sz="28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agregovaně</a:t>
            </a:r>
            <a:r>
              <a:rPr kumimoji="0" lang="cs-CZ" sz="28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 hlášeny do centrálního systému, který umožňuje sledovat vývoj pozitivních záchytů nákazy.</a:t>
            </a:r>
            <a:endParaRPr kumimoji="0" lang="cs-CZ" sz="2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 průběžných dat vyplývá,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že testy prováděné ve školách neindikují systémový rizikový vývoj či kontinuální eskalaci v šíření epidemie. Hodnoty v jednotlivých krajích různě v čase fluktuují, ale kontinuálně nerostou. 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  <a:p>
            <a:pPr algn="ctr"/>
            <a:r>
              <a:rPr lang="cs-CZ" sz="2800" b="1" dirty="0">
                <a:solidFill>
                  <a:srgbClr val="C00000"/>
                </a:solidFill>
              </a:rPr>
              <a:t>V týdnu po 14.6. nahlásila řada škol zvýšené počty pozitivních AG testů (agregované hlášení přímo ze škol – ještě bez konfirmací). Šlo o školy v řadě krajů, nejvyšší výkyv (vybočující z běžně hlášených průměrů) ale vykázaly školy v Kraji Vysočina. Tyto záznamy jsou dále tedy zobrazeny detailněji – situace bude denně sledována. </a:t>
            </a:r>
            <a:r>
              <a:rPr lang="cs-CZ" sz="2800" b="1" dirty="0" smtClean="0">
                <a:solidFill>
                  <a:srgbClr val="C00000"/>
                </a:solidFill>
              </a:rPr>
              <a:t>Tato hlášení se zatím významně neprojevují v centrální databázi nebo v nárůstu zátěže u různých věkových tříd dětí v populaci. </a:t>
            </a:r>
            <a:endParaRPr lang="cs-CZ" sz="2800" b="1" dirty="0">
              <a:solidFill>
                <a:srgbClr val="C00000"/>
              </a:solidFill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55201" y="132032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55200" y="633614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96601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(dle CFA) 12.4–22.6.2021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6956137"/>
              </p:ext>
            </p:extLst>
          </p:nvPr>
        </p:nvGraphicFramePr>
        <p:xfrm>
          <a:off x="79269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835196" y="1893272"/>
            <a:ext cx="14750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 žáci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1997599-EE1B-4E00-A308-3277A4B2793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29700735"/>
              </p:ext>
            </p:extLst>
          </p:nvPr>
        </p:nvGraphicFramePr>
        <p:xfrm>
          <a:off x="6191250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C6FFC02-0331-4ACA-97B7-FCBDEE6D0D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848827" y="1902635"/>
            <a:ext cx="23182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 zaměstnanci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DC31C7CC-C883-48E9-A01B-7FA2F042887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23. 6. 2021 18:00</a:t>
            </a:r>
            <a:endParaRPr lang="cs-CZ" sz="1400" i="1" dirty="0"/>
          </a:p>
        </p:txBody>
      </p:sp>
      <p:sp>
        <p:nvSpPr>
          <p:cNvPr id="2" name="Obdélník 1"/>
          <p:cNvSpPr/>
          <p:nvPr/>
        </p:nvSpPr>
        <p:spPr>
          <a:xfrm>
            <a:off x="1243240" y="1031009"/>
            <a:ext cx="1077730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000000"/>
                </a:solidFill>
              </a:rPr>
              <a:t>Celkové absolutní počty pozitivních záchytů nahlášených ze škol bez dělení na věkové kategorie</a:t>
            </a:r>
          </a:p>
          <a:p>
            <a:pPr algn="ctr"/>
            <a:r>
              <a:rPr lang="cs-CZ" b="1" dirty="0">
                <a:solidFill>
                  <a:srgbClr val="000000"/>
                </a:solidFill>
              </a:rPr>
              <a:t>Celkový souhrn za celé sledované období od 12.4.  </a:t>
            </a:r>
            <a:endParaRPr lang="cs-CZ" b="1" dirty="0"/>
          </a:p>
        </p:txBody>
      </p:sp>
      <p:sp>
        <p:nvSpPr>
          <p:cNvPr id="3" name="Šipka dolů 2"/>
          <p:cNvSpPr/>
          <p:nvPr/>
        </p:nvSpPr>
        <p:spPr>
          <a:xfrm>
            <a:off x="3234314" y="1639506"/>
            <a:ext cx="650271" cy="2095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Šipka dolů 11"/>
          <p:cNvSpPr/>
          <p:nvPr/>
        </p:nvSpPr>
        <p:spPr>
          <a:xfrm>
            <a:off x="9646254" y="1639506"/>
            <a:ext cx="650271" cy="209590"/>
          </a:xfrm>
          <a:prstGeom prst="downArrow">
            <a:avLst/>
          </a:prstGeom>
          <a:solidFill>
            <a:srgbClr val="00B0F0"/>
          </a:solidFill>
          <a:ln>
            <a:solidFill>
              <a:srgbClr val="4DE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/>
          <p:cNvSpPr txBox="1"/>
          <p:nvPr/>
        </p:nvSpPr>
        <p:spPr>
          <a:xfrm>
            <a:off x="9659569" y="5630645"/>
            <a:ext cx="265697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1675267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(dle CFA) 12.4–22.6.2021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0155895"/>
              </p:ext>
            </p:extLst>
          </p:nvPr>
        </p:nvGraphicFramePr>
        <p:xfrm>
          <a:off x="79269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6924" y="1893272"/>
            <a:ext cx="33810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ch žáků na 100 tis. testů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1997599-EE1B-4E00-A308-3277A4B2793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0219079"/>
              </p:ext>
            </p:extLst>
          </p:nvPr>
        </p:nvGraphicFramePr>
        <p:xfrm>
          <a:off x="6191250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C6FFC02-0331-4ACA-97B7-FCBDEE6D0D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4039" y="1902635"/>
            <a:ext cx="35878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ch učitelů na 100 tis. testů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DC31C7CC-C883-48E9-A01B-7FA2F042887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23. 6. 2021 18:00</a:t>
            </a:r>
            <a:endParaRPr lang="cs-CZ" sz="1400" i="1" dirty="0"/>
          </a:p>
        </p:txBody>
      </p:sp>
      <p:sp>
        <p:nvSpPr>
          <p:cNvPr id="2" name="Obdélník 1"/>
          <p:cNvSpPr/>
          <p:nvPr>
            <p:custDataLst>
              <p:tags r:id="rId7"/>
            </p:custDataLst>
          </p:nvPr>
        </p:nvSpPr>
        <p:spPr>
          <a:xfrm>
            <a:off x="1173083" y="1058739"/>
            <a:ext cx="1067471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000000"/>
                </a:solidFill>
              </a:rPr>
              <a:t>Počty pozitivních záchytů na 100 tisíc testů nahlášených ze škol bez dělení na věkové kategorie</a:t>
            </a:r>
          </a:p>
          <a:p>
            <a:pPr algn="ctr"/>
            <a:r>
              <a:rPr lang="cs-CZ" b="1" dirty="0">
                <a:solidFill>
                  <a:srgbClr val="000000"/>
                </a:solidFill>
              </a:rPr>
              <a:t>Celkový souhrn za celé sledované období od 12.4. </a:t>
            </a:r>
            <a:endParaRPr lang="cs-CZ" b="1" dirty="0"/>
          </a:p>
        </p:txBody>
      </p:sp>
      <p:sp>
        <p:nvSpPr>
          <p:cNvPr id="3" name="Šipka dolů 2"/>
          <p:cNvSpPr/>
          <p:nvPr/>
        </p:nvSpPr>
        <p:spPr>
          <a:xfrm>
            <a:off x="3208998" y="1687128"/>
            <a:ext cx="650271" cy="2095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Šipka dolů 11"/>
          <p:cNvSpPr/>
          <p:nvPr/>
        </p:nvSpPr>
        <p:spPr>
          <a:xfrm>
            <a:off x="9398604" y="1687128"/>
            <a:ext cx="650271" cy="209590"/>
          </a:xfrm>
          <a:prstGeom prst="downArrow">
            <a:avLst/>
          </a:prstGeom>
          <a:solidFill>
            <a:srgbClr val="00B0F0"/>
          </a:solidFill>
          <a:ln>
            <a:solidFill>
              <a:srgbClr val="4DE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/>
          <p:cNvSpPr txBox="1"/>
          <p:nvPr/>
        </p:nvSpPr>
        <p:spPr>
          <a:xfrm>
            <a:off x="10007960" y="5415201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23357110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dle krajů (přepočet na 100tis. testů)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9C1FABC3-68C3-430D-8101-D384F9E55F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6419" y="6584345"/>
            <a:ext cx="11584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* Přímé výsledky všech testů v rámci testování ve školách bez ohledu na věk žáka (testy hlášené </a:t>
            </a:r>
            <a:r>
              <a:rPr lang="cs-CZ" sz="1400" i="1" dirty="0" err="1"/>
              <a:t>agregovaně</a:t>
            </a:r>
            <a:r>
              <a:rPr lang="cs-CZ" sz="1400" i="1" dirty="0"/>
              <a:t>, bez verifikace)</a:t>
            </a:r>
          </a:p>
        </p:txBody>
      </p:sp>
      <p:graphicFrame>
        <p:nvGraphicFramePr>
          <p:cNvPr id="6" name="Table 2">
            <a:extLst>
              <a:ext uri="{FF2B5EF4-FFF2-40B4-BE49-F238E27FC236}">
                <a16:creationId xmlns:a16="http://schemas.microsoft.com/office/drawing/2014/main" id="{3501329C-293C-4A24-A6B1-F978CE92C433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09045759"/>
              </p:ext>
            </p:extLst>
          </p:nvPr>
        </p:nvGraphicFramePr>
        <p:xfrm>
          <a:off x="164994" y="615452"/>
          <a:ext cx="11584512" cy="584665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12416">
                  <a:extLst>
                    <a:ext uri="{9D8B030D-6E8A-4147-A177-3AD203B41FA5}">
                      <a16:colId xmlns:a16="http://schemas.microsoft.com/office/drawing/2014/main" val="1875920252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3692636823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2273268959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3385100031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3152331077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1217694765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1808379932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452173516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3011977694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3177548622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163920331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1182237422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2402046036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2275635768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1359331964"/>
                    </a:ext>
                  </a:extLst>
                </a:gridCol>
              </a:tblGrid>
              <a:tr h="425128">
                <a:tc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Počet pozitivních žáků na 100 000 testů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Počet pozitivních zaměstnanců na 100 000 testů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079627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Týden 1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Týden 2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Týden 3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Týden 4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6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Týden 1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>
                          <a:effectLst/>
                          <a:latin typeface="+mj-lt"/>
                        </a:rPr>
                        <a:t>Týden 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>
                          <a:effectLst/>
                          <a:latin typeface="+mj-lt"/>
                        </a:rPr>
                        <a:t>Týden 3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Týden 4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4005095"/>
                  </a:ext>
                </a:extLst>
              </a:tr>
              <a:tr h="425128">
                <a:tc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5. – 16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5. – 23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5. – 30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.5. – 6.6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6. – 13.6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.6. –20.6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.6 – 22. 6.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5. – 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5. – 23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5. – 30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.5. – 6.6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6. – 13.6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.6. –20.6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.6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432302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Hlavní město Praha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0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0498492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Středoče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3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137651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Jihoče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6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3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153328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Plzeň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6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8337266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>
                          <a:effectLst/>
                          <a:latin typeface="+mj-lt"/>
                        </a:rPr>
                        <a:t>Karlovarský kraj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6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337246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Ústec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.8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8249927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Liberec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.8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5200003"/>
                  </a:ext>
                </a:extLst>
              </a:tr>
              <a:tr h="42512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Královéhradec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4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9770394"/>
                  </a:ext>
                </a:extLst>
              </a:tr>
              <a:tr h="312404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Pardubic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.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9861970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Kraj Vysočina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.2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8.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1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3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9073110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Jihomorav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.3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4920904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Olomouc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4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.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8380585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Zlín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.7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.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1650184"/>
                  </a:ext>
                </a:extLst>
              </a:tr>
              <a:tr h="42512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Moravskoslez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1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0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4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0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2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3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947631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ČR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.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.9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.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.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1990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60148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Školy v kraji Vysočina 14.6-20.6 s pozitivními záchyty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4DF5B96-B658-45CB-A1E3-DA7BE297C952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61765" y="769588"/>
          <a:ext cx="5931006" cy="6048960"/>
        </p:xfrm>
        <a:graphic>
          <a:graphicData uri="http://schemas.openxmlformats.org/drawingml/2006/table">
            <a:tbl>
              <a:tblPr/>
              <a:tblGrid>
                <a:gridCol w="5342806">
                  <a:extLst>
                    <a:ext uri="{9D8B030D-6E8A-4147-A177-3AD203B41FA5}">
                      <a16:colId xmlns:a16="http://schemas.microsoft.com/office/drawing/2014/main" val="1473788872"/>
                    </a:ext>
                  </a:extLst>
                </a:gridCol>
                <a:gridCol w="588200">
                  <a:extLst>
                    <a:ext uri="{9D8B030D-6E8A-4147-A177-3AD203B41FA5}">
                      <a16:colId xmlns:a16="http://schemas.microsoft.com/office/drawing/2014/main" val="3679156805"/>
                    </a:ext>
                  </a:extLst>
                </a:gridCol>
              </a:tblGrid>
              <a:tr h="329480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zev školy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áci pozitivní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986717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ymnázium Havlíčkův Brod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3367511"/>
                  </a:ext>
                </a:extLst>
              </a:tr>
              <a:tr h="198786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IVIS - Střední škola veřejnoprávní a Vyšší odborná škola bezpečnosti silniční dopravy Jihlava, s.r.o.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6188487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tolické gymnázium Třebíč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5530901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ní průmyslová škola a Střední odborné učiliště Pelhřimov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7052854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Dobronín, příspěvková organizace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7147348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Velké Meziříčí, Sokolovská 470/13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1753030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Okříšky, příspěvková organizace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607276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Jihlava, Kollárova 30, příspěvková organizace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9940376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Třebíč, ul. Kpt. Jaroše 836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9905049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T. G. Masaryka Rouchovany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8490890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ní škola stavební Třebíč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3226873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Ždírec nad Doubravou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7445824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Dolní Město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2458129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Česká Bělá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0933563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Senožaty, okres Pelhřimov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7409102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Třešť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511972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T.G. Masaryka, Jihlava, příspěvková organizace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4083780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Jihlava, Havlíčkova 71, příspěvková organizace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240811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Šlapanov, příspěvková organizace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9819447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Žďár nad Sázavou, Palachova 2189/35, příspěvková organizace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7587145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Škrdlovice, příspěvková organizace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0459187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Herálec, příspěvková organizace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6031463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Náměšť nad Oslavou, Husova 579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7154243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Lísek, okres Žďár nad Sázavou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3924399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Náměšť nad Oslavou, Husova 579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219380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Náměšť nad Oslavou, Komenského 53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0809275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Nové Syrovice, okres Třebíč, příspěvková organizace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5209181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, Studenec, okres Třebíč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3276121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Jihlava, Nad Plovárnou 5, příspěvková organizace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5843124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Puklice, příspěvková organizace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9865338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ní průmyslová škola stavební akademika Stanislava Bechyně, Havlíčkův Brod, Jihlavská 628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1568518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ní škola informatiky a cestovního ruchu SČMSD Humpolec, s.r.o.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085853"/>
                  </a:ext>
                </a:extLst>
              </a:tr>
              <a:tr h="198786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chodní akademie, Vyšší odborná škola zdravotnická a Střední zdravotnická škola, Střední odborná škola služeb a Jazyková škola s právem státní jazykové zkoušky Jihlava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7855528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ní odborná škola sociální u Matky Boží Jihlava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7558457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Humpolec, Hálkova 591, okres Pelhřimov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2395249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27C43E8-9244-4D49-A204-A3C5EF90E86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450809" y="769588"/>
          <a:ext cx="3952648" cy="2409445"/>
        </p:xfrm>
        <a:graphic>
          <a:graphicData uri="http://schemas.openxmlformats.org/drawingml/2006/table">
            <a:tbl>
              <a:tblPr/>
              <a:tblGrid>
                <a:gridCol w="3064127">
                  <a:extLst>
                    <a:ext uri="{9D8B030D-6E8A-4147-A177-3AD203B41FA5}">
                      <a16:colId xmlns:a16="http://schemas.microsoft.com/office/drawing/2014/main" val="4229581980"/>
                    </a:ext>
                  </a:extLst>
                </a:gridCol>
                <a:gridCol w="888521">
                  <a:extLst>
                    <a:ext uri="{9D8B030D-6E8A-4147-A177-3AD203B41FA5}">
                      <a16:colId xmlns:a16="http://schemas.microsoft.com/office/drawing/2014/main" val="1883188861"/>
                    </a:ext>
                  </a:extLst>
                </a:gridCol>
              </a:tblGrid>
              <a:tr h="160701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zev školy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ci pozitivní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509243"/>
                  </a:ext>
                </a:extLst>
              </a:tr>
              <a:tr h="34985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eřská škola Krucemburk, okres Havlíčkův Brod</a:t>
                      </a:r>
                    </a:p>
                  </a:txBody>
                  <a:tcPr marL="4970" marR="4970" marT="497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4970" marR="4970" marT="497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4381540"/>
                  </a:ext>
                </a:extLst>
              </a:tr>
              <a:tr h="34985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Dolní Heřmanice, příspěvková organizace</a:t>
                      </a:r>
                    </a:p>
                  </a:txBody>
                  <a:tcPr marL="4970" marR="4970" marT="49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4970" marR="4970" marT="49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5365497"/>
                  </a:ext>
                </a:extLst>
              </a:tr>
              <a:tr h="34985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ý dětský domov, s.r.o.</a:t>
                      </a:r>
                    </a:p>
                  </a:txBody>
                  <a:tcPr marL="4970" marR="4970" marT="49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970" marR="4970" marT="49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8723064"/>
                  </a:ext>
                </a:extLst>
              </a:tr>
              <a:tr h="34985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eřská škola Nížkov, příspěvková organizace</a:t>
                      </a:r>
                    </a:p>
                  </a:txBody>
                  <a:tcPr marL="4970" marR="4970" marT="49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970" marR="4970" marT="49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1828422"/>
                  </a:ext>
                </a:extLst>
              </a:tr>
              <a:tr h="34985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Vojnův Městec, okres Žďár nad Sázavou, příspěvková organizace</a:t>
                      </a:r>
                    </a:p>
                  </a:txBody>
                  <a:tcPr marL="4970" marR="4970" marT="49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970" marR="4970" marT="49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7789329"/>
                  </a:ext>
                </a:extLst>
              </a:tr>
              <a:tr h="349859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, Studenec, okres Třebíč</a:t>
                      </a:r>
                    </a:p>
                  </a:txBody>
                  <a:tcPr marL="4970" marR="4970" marT="49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970" marR="4970" marT="49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835285"/>
                  </a:ext>
                </a:extLst>
              </a:tr>
            </a:tbl>
          </a:graphicData>
        </a:graphic>
      </p:graphicFrame>
      <p:sp>
        <p:nvSpPr>
          <p:cNvPr id="5" name="TextovéPole 4"/>
          <p:cNvSpPr txBox="1"/>
          <p:nvPr/>
        </p:nvSpPr>
        <p:spPr>
          <a:xfrm>
            <a:off x="6513562" y="3424736"/>
            <a:ext cx="39526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kladem </a:t>
            </a:r>
            <a:r>
              <a:rPr kumimoji="0" lang="cs-CZ" sz="1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bulek jsou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regované výsledky testů hlášené přímo ze škol. 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4408355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Školy v kraji Vysočina 21.6 s pozitivními záchyty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4DF5B96-B658-45CB-A1E3-DA7BE297C952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161765" y="769588"/>
          <a:ext cx="5931006" cy="4957391"/>
        </p:xfrm>
        <a:graphic>
          <a:graphicData uri="http://schemas.openxmlformats.org/drawingml/2006/table">
            <a:tbl>
              <a:tblPr/>
              <a:tblGrid>
                <a:gridCol w="5342806">
                  <a:extLst>
                    <a:ext uri="{9D8B030D-6E8A-4147-A177-3AD203B41FA5}">
                      <a16:colId xmlns:a16="http://schemas.microsoft.com/office/drawing/2014/main" val="1473788872"/>
                    </a:ext>
                  </a:extLst>
                </a:gridCol>
                <a:gridCol w="588200">
                  <a:extLst>
                    <a:ext uri="{9D8B030D-6E8A-4147-A177-3AD203B41FA5}">
                      <a16:colId xmlns:a16="http://schemas.microsoft.com/office/drawing/2014/main" val="3679156805"/>
                    </a:ext>
                  </a:extLst>
                </a:gridCol>
              </a:tblGrid>
              <a:tr h="329480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zev školy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áci pozitivní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986717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Hamry nad Sázavou, příspěvková organiza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3367511"/>
                  </a:ext>
                </a:extLst>
              </a:tr>
              <a:tr h="198786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Jihlava, Kollárova 30, příspěvková organiza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6188487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Náměšť nad Oslavou, Komenského 5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5530901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T. G. Masaryka Moravské Budějovice, náměstí Svobody 903, okres Třebíč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7052854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Velká Bíteš, příspěvková organiza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7147348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Třebíč, ul. Kpt. Jaroše 83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1753030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Mysliboř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607276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Telč, Hradecká 234, příspěvková organiza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9940376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Jihlava, E. Rošického 2, příspěvková organiza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9905049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Jihlava, Křížová 33, příspěvková organiza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8490890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Pelhřimov, Komenského 1465, příspěvková organiza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3226873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tolické gymnázium Třebíč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7445824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ní odborná škola, Střední odborné učiliště a Základní škola Třešť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2458129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Žďár nad Sázavou, Švermova 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0933563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Velké Meziříčí, Sokolovská 470/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7409102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Nové Veselí, příspěvková organiza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511972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Křižanov, příspěvková organiza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4083780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Náměšť nad Oslavou, Husova 57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240811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Třebíč, Bartuškova 7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9819447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Třebíč, Horka-Domky, Václavské nám. 44/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7587145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Výčapy, příspěvková organiza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0459187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T. G. Masaryka Rouchovan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6031463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Kamenice, okr. Jihlava, příspěvková organiza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7154243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Havlíčkův Brod, Nuselská 324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3924399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Žirovn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219380"/>
                  </a:ext>
                </a:extLst>
              </a:tr>
              <a:tr h="109827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Humpolec, Hálkova 591, okres Pelhřimo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2395249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27C43E8-9244-4D49-A204-A3C5EF90E86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/>
          </p:nvPr>
        </p:nvGraphicFramePr>
        <p:xfrm>
          <a:off x="6450809" y="769588"/>
          <a:ext cx="3952648" cy="1709727"/>
        </p:xfrm>
        <a:graphic>
          <a:graphicData uri="http://schemas.openxmlformats.org/drawingml/2006/table">
            <a:tbl>
              <a:tblPr/>
              <a:tblGrid>
                <a:gridCol w="3064127">
                  <a:extLst>
                    <a:ext uri="{9D8B030D-6E8A-4147-A177-3AD203B41FA5}">
                      <a16:colId xmlns:a16="http://schemas.microsoft.com/office/drawing/2014/main" val="4229581980"/>
                    </a:ext>
                  </a:extLst>
                </a:gridCol>
                <a:gridCol w="888521">
                  <a:extLst>
                    <a:ext uri="{9D8B030D-6E8A-4147-A177-3AD203B41FA5}">
                      <a16:colId xmlns:a16="http://schemas.microsoft.com/office/drawing/2014/main" val="1883188861"/>
                    </a:ext>
                  </a:extLst>
                </a:gridCol>
              </a:tblGrid>
              <a:tr h="160701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zev školy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ěstnanci pozitivní</a:t>
                      </a:r>
                    </a:p>
                  </a:txBody>
                  <a:tcPr marL="5491" marR="5491" marT="549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509243"/>
                  </a:ext>
                </a:extLst>
              </a:tr>
              <a:tr h="349859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 Čáslav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4381540"/>
                  </a:ext>
                </a:extLst>
              </a:tr>
              <a:tr h="349859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tolické gymnázium Třebíč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5365497"/>
                  </a:ext>
                </a:extLst>
              </a:tr>
              <a:tr h="349859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Třebíč, Benešova 5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8723064"/>
                  </a:ext>
                </a:extLst>
              </a:tr>
              <a:tr h="349859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kladní škola a mateřská škola, Studenec, okres Třebíč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835285"/>
                  </a:ext>
                </a:extLst>
              </a:tr>
            </a:tbl>
          </a:graphicData>
        </a:graphic>
      </p:graphicFrame>
      <p:sp>
        <p:nvSpPr>
          <p:cNvPr id="5" name="TextovéPole 4"/>
          <p:cNvSpPr txBox="1"/>
          <p:nvPr/>
        </p:nvSpPr>
        <p:spPr>
          <a:xfrm>
            <a:off x="6450809" y="2633451"/>
            <a:ext cx="39526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kladem </a:t>
            </a:r>
            <a:r>
              <a:rPr kumimoji="0" lang="cs-CZ" sz="1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bulek jsou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regované výsledky testů hlášené přímo ze škol. 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2711299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92a72d3433424d4497ed13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True"/>
  <p:tag name="SLIDEFAB_EXPORTMODE" val="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True"/>
  <p:tag name="SLIDEFAB_EXPORTMOD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True"/>
  <p:tag name="SLIDEFAB_EXPORTMOD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  <p:tag name="SLIDEFAB_RESIZEMODE" val="1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  <p:tag name="SLIDEFAB_RESIZEMOD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05</TotalTime>
  <Words>5033</Words>
  <Application>Microsoft Office PowerPoint</Application>
  <PresentationFormat>Širokoúhlá obrazovka</PresentationFormat>
  <Paragraphs>984</Paragraphs>
  <Slides>32</Slides>
  <Notes>18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32</vt:i4>
      </vt:variant>
    </vt:vector>
  </HeadingPairs>
  <TitlesOfParts>
    <vt:vector size="40" baseType="lpstr">
      <vt:lpstr>Arial</vt:lpstr>
      <vt:lpstr>Arial (Základní text)</vt:lpstr>
      <vt:lpstr>Calibri</vt:lpstr>
      <vt:lpstr>Calibri Light</vt:lpstr>
      <vt:lpstr>1_Motiv systému Office</vt:lpstr>
      <vt:lpstr>5_Motiv Office</vt:lpstr>
      <vt:lpstr>1_Motiv Office</vt:lpstr>
      <vt:lpstr>12_Motiv Office</vt:lpstr>
      <vt:lpstr>Datová a informační základna  pro management pandemie COVID-19</vt:lpstr>
      <vt:lpstr>Harmonogram otevírání školských zařízení v krajích ČR 2021</vt:lpstr>
      <vt:lpstr>Kumulativní počet testů provedených přímo ve školách </vt:lpstr>
      <vt:lpstr>Prezentace aplikace PowerPoint</vt:lpstr>
      <vt:lpstr>Testy ve školách – průběžné výsledky (dle CFA) 12.4–22.6.2021 </vt:lpstr>
      <vt:lpstr>Testy ve školách – průběžné výsledky (dle CFA) 12.4–22.6.2021 </vt:lpstr>
      <vt:lpstr>Testy ve školách – průběžné výsledky dle krajů (přepočet na 100tis. testů)</vt:lpstr>
      <vt:lpstr>Školy v kraji Vysočina 14.6-20.6 s pozitivními záchyty</vt:lpstr>
      <vt:lpstr>Školy v kraji Vysočina 21.6 s pozitivními záchyty</vt:lpstr>
      <vt:lpstr>Testy ve školách – průběžné výsledky dle krajů (přepočet na 100tis. testů): ŽÁCI</vt:lpstr>
      <vt:lpstr>Testy ve školách – průběžné výsledky dle krajů (přepočet na 100tis. testů): ZAMĚSTNANCI</vt:lpstr>
      <vt:lpstr>Testy ve školách – souhrnné hodnocení </vt:lpstr>
      <vt:lpstr>Datová a informační základna  pro management pandemie COVID-19</vt:lpstr>
      <vt:lpstr>Prezentace aplikace PowerPoint</vt:lpstr>
      <vt:lpstr>Testy hlášení ze škol – průběžné výsledky</vt:lpstr>
      <vt:lpstr>Populační záchyty nákazy u dětí různých věkových kategorií</vt:lpstr>
      <vt:lpstr>Výsledky testů u dětí 5-15 let mezi 12.4 – 22.6.2021</vt:lpstr>
      <vt:lpstr>Výsledky testů u dětí 5-11 let mezi 12.4 – 22.6.2021</vt:lpstr>
      <vt:lpstr>Výsledky testů u dětí 12-15 let mezi 12.4 – 22.6.2021</vt:lpstr>
      <vt:lpstr>Výsledky testů u dětí 5-15 let mezi 14.6 – 20.6.2021</vt:lpstr>
      <vt:lpstr>Výsledky testů u dětí 5-11 let mezi 14.6 – 20.6.2021</vt:lpstr>
      <vt:lpstr>Výsledky testů u dětí 12-15 let mezi 14.6 – 20.6.2021</vt:lpstr>
      <vt:lpstr>Výsledky testů u dětí  - celkový přehled včetně neuzařeného hlášení v novém týdnu </vt:lpstr>
      <vt:lpstr>Datová a informační základna  pro management pandemie COVID-19</vt:lpstr>
      <vt:lpstr>Počty COVID-19 pozitivních v ČR na 100 000 v populaci</vt:lpstr>
      <vt:lpstr>Počty testů na 100 tis. dětí v čase</vt:lpstr>
      <vt:lpstr>Počty nově COVID-19 pozitivních na 100 testů u dětí v čase</vt:lpstr>
      <vt:lpstr>Nové případy za 7 dní na 100 000 obyvatel: srovnání krajů k 22.6.: 0–4 let</vt:lpstr>
      <vt:lpstr>Nové případy za 7 dní na 100 000 obyvatel: srovnání krajů k 22.6.: 5–11 let</vt:lpstr>
      <vt:lpstr>Nové případy za 7 dní na 100 000 obyvatel: srovnání krajů k 22.6.: 12–19 let</vt:lpstr>
      <vt:lpstr>Nové případy za 7 dní na 100 000 obyvatel: srovnání krajů k 21.6.: 12–15 let</vt:lpstr>
      <vt:lpstr>Nové případy za 7 dní na 100 000 obyvatel: srovnání krajů k 21.6.: 16–19 le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3233</cp:revision>
  <dcterms:created xsi:type="dcterms:W3CDTF">2020-03-16T10:06:11Z</dcterms:created>
  <dcterms:modified xsi:type="dcterms:W3CDTF">2021-06-24T05:17:35Z</dcterms:modified>
</cp:coreProperties>
</file>